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Masters/slideMaster1.xml" ContentType="application/vnd.openxmlformats-officedocument.presentationml.slideMaster+xml"/>
  <Override PartName="/ppt/slideLayouts/slideLayout3.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notesMasters/notesMaster1.xml" ContentType="application/vnd.openxmlformats-officedocument.presentationml.notesMaster+xml"/>
  <Override PartName="/ppt/theme/theme1.xml" ContentType="application/vnd.openxmlformats-officedocument.theme+xml"/>
  <Override PartName="/ppt/charts/colors4.xml" ContentType="application/vnd.ms-office.chartcolorstyl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62.xml" ContentType="application/vnd.openxmlformats-officedocument.presentationml.tags+xml"/>
  <Override PartName="/ppt/tags/tag45.xml" ContentType="application/vnd.openxmlformats-officedocument.presentationml.tags+xml"/>
  <Override PartName="/ppt/tags/tag60.xml" ContentType="application/vnd.openxmlformats-officedocument.presentationml.tags+xml"/>
  <Override PartName="/ppt/tags/tag9.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59.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63.xml" ContentType="application/vnd.openxmlformats-officedocument.presentationml.tags+xml"/>
  <Override PartName="/ppt/tags/tag61.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39.xml" ContentType="application/vnd.openxmlformats-officedocument.presentationml.tags+xml"/>
  <Override PartName="/ppt/tags/tag35.xml" ContentType="application/vnd.openxmlformats-officedocument.presentationml.tags+xml"/>
  <Override PartName="/ppt/tags/tag38.xml" ContentType="application/vnd.openxmlformats-officedocument.presentationml.tags+xml"/>
  <Override PartName="/ppt/tags/tag4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3"/>
  </p:notesMasterIdLst>
  <p:sldIdLst>
    <p:sldId id="268" r:id="rId2"/>
    <p:sldId id="273" r:id="rId3"/>
    <p:sldId id="2134804407" r:id="rId4"/>
    <p:sldId id="282" r:id="rId5"/>
    <p:sldId id="2134804422" r:id="rId6"/>
    <p:sldId id="2134804423" r:id="rId7"/>
    <p:sldId id="2134804424" r:id="rId8"/>
    <p:sldId id="2134804434" r:id="rId9"/>
    <p:sldId id="2134804435" r:id="rId10"/>
    <p:sldId id="2134804436" r:id="rId11"/>
    <p:sldId id="2134804351" r:id="rId12"/>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B7D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0" d="100"/>
          <a:sy n="80" d="100"/>
        </p:scale>
        <p:origin x="136" y="4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customXml" Target="../customXml/item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20"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customXml" Target="../customXml/item2.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ADD\Desktop\Activit&#233;%20PMO\statistiques%20hebdo_dg\extrat%2009_11\EVOLUTION_courriers_RECUS_PAR_CANAL_09_11.xls"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DD\Desktop\Activit&#233;%20PMO\statistiques%20hebdo_dg\extrat%2009_11\EVOLUTION_courriers_RECUS_PAR_CANAL_09_11.xls"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Hanae%20Talbi\Desktop\Nouveau%20Feuille%20de%20calcul%20Microsoft%20Excel.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Salima%20Salaheddine\Desktop\Classeur_salima.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5"/>
    </mc:Choice>
    <mc:Fallback>
      <c:style val="5"/>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lineChart>
        <c:grouping val="standard"/>
        <c:varyColors val="0"/>
        <c:ser>
          <c:idx val="0"/>
          <c:order val="0"/>
          <c:tx>
            <c:strRef>
              <c:f>Sheet1!$A$27</c:f>
              <c:strCache>
                <c:ptCount val="1"/>
                <c:pt idx="0">
                  <c:v>Cumul courrier reçu dans BOD</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6:$J$26</c:f>
              <c:strCache>
                <c:ptCount val="9"/>
                <c:pt idx="0">
                  <c:v>Mars 2020</c:v>
                </c:pt>
                <c:pt idx="1">
                  <c:v>Avril 2020</c:v>
                </c:pt>
                <c:pt idx="2">
                  <c:v>Mai 2020</c:v>
                </c:pt>
                <c:pt idx="3">
                  <c:v>Juin 2020</c:v>
                </c:pt>
                <c:pt idx="4">
                  <c:v>Juillet 2020</c:v>
                </c:pt>
                <c:pt idx="5">
                  <c:v>Août 2020</c:v>
                </c:pt>
                <c:pt idx="6">
                  <c:v>Septembre 2020</c:v>
                </c:pt>
                <c:pt idx="7">
                  <c:v>Octobre 2020</c:v>
                </c:pt>
                <c:pt idx="8">
                  <c:v>Novembre 2020</c:v>
                </c:pt>
              </c:strCache>
            </c:strRef>
          </c:cat>
          <c:val>
            <c:numRef>
              <c:f>Sheet1!$B$27:$J$27</c:f>
              <c:numCache>
                <c:formatCode>General</c:formatCode>
                <c:ptCount val="9"/>
                <c:pt idx="0">
                  <c:v>68</c:v>
                </c:pt>
                <c:pt idx="1">
                  <c:v>1877</c:v>
                </c:pt>
                <c:pt idx="2">
                  <c:v>5393</c:v>
                </c:pt>
                <c:pt idx="3">
                  <c:v>10996</c:v>
                </c:pt>
                <c:pt idx="4">
                  <c:v>18408</c:v>
                </c:pt>
                <c:pt idx="5">
                  <c:v>22386</c:v>
                </c:pt>
                <c:pt idx="6">
                  <c:v>29036</c:v>
                </c:pt>
                <c:pt idx="7">
                  <c:v>49929</c:v>
                </c:pt>
                <c:pt idx="8">
                  <c:v>53837</c:v>
                </c:pt>
              </c:numCache>
            </c:numRef>
          </c:val>
          <c:smooth val="0"/>
          <c:extLst>
            <c:ext xmlns:c16="http://schemas.microsoft.com/office/drawing/2014/chart" uri="{C3380CC4-5D6E-409C-BE32-E72D297353CC}">
              <c16:uniqueId val="{00000000-ED68-4B34-B919-807FCED0A150}"/>
            </c:ext>
          </c:extLst>
        </c:ser>
        <c:dLbls>
          <c:showLegendKey val="0"/>
          <c:showVal val="0"/>
          <c:showCatName val="0"/>
          <c:showSerName val="0"/>
          <c:showPercent val="0"/>
          <c:showBubbleSize val="0"/>
        </c:dLbls>
        <c:marker val="1"/>
        <c:smooth val="0"/>
        <c:axId val="579044688"/>
        <c:axId val="1"/>
      </c:lineChart>
      <c:catAx>
        <c:axId val="5790446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
        <c:crosses val="autoZero"/>
        <c:auto val="1"/>
        <c:lblAlgn val="ctr"/>
        <c:lblOffset val="100"/>
        <c:noMultiLvlLbl val="0"/>
      </c:catAx>
      <c:valAx>
        <c:axId val="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5790446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5"/>
    </mc:Choice>
    <mc:Fallback>
      <c:style val="5"/>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lineChart>
        <c:grouping val="standard"/>
        <c:varyColors val="0"/>
        <c:ser>
          <c:idx val="0"/>
          <c:order val="0"/>
          <c:tx>
            <c:strRef>
              <c:f>Sheet1!$A$49</c:f>
              <c:strCache>
                <c:ptCount val="1"/>
                <c:pt idx="0">
                  <c:v>Cumul courrier reçu dans Parapheur Electronique y compris BOD</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48:$J$48</c:f>
              <c:strCache>
                <c:ptCount val="9"/>
                <c:pt idx="0">
                  <c:v>Mars 2020</c:v>
                </c:pt>
                <c:pt idx="1">
                  <c:v>Avril 2020</c:v>
                </c:pt>
                <c:pt idx="2">
                  <c:v>Mai 2020</c:v>
                </c:pt>
                <c:pt idx="3">
                  <c:v>Juin 2020</c:v>
                </c:pt>
                <c:pt idx="4">
                  <c:v>Juillet 2020</c:v>
                </c:pt>
                <c:pt idx="5">
                  <c:v>Août 2020</c:v>
                </c:pt>
                <c:pt idx="6">
                  <c:v>Septembre 2020</c:v>
                </c:pt>
                <c:pt idx="7">
                  <c:v>Octobre 2020</c:v>
                </c:pt>
                <c:pt idx="8">
                  <c:v>Novembre 2020</c:v>
                </c:pt>
              </c:strCache>
            </c:strRef>
          </c:cat>
          <c:val>
            <c:numRef>
              <c:f>Sheet1!$B$49:$J$49</c:f>
              <c:numCache>
                <c:formatCode>General</c:formatCode>
                <c:ptCount val="9"/>
                <c:pt idx="0">
                  <c:v>2098</c:v>
                </c:pt>
                <c:pt idx="1">
                  <c:v>9899</c:v>
                </c:pt>
                <c:pt idx="2">
                  <c:v>21131</c:v>
                </c:pt>
                <c:pt idx="3">
                  <c:v>48138</c:v>
                </c:pt>
                <c:pt idx="4">
                  <c:v>87422</c:v>
                </c:pt>
                <c:pt idx="5">
                  <c:v>111093</c:v>
                </c:pt>
                <c:pt idx="6">
                  <c:v>154600</c:v>
                </c:pt>
                <c:pt idx="7">
                  <c:v>213247</c:v>
                </c:pt>
                <c:pt idx="8">
                  <c:v>224515</c:v>
                </c:pt>
              </c:numCache>
            </c:numRef>
          </c:val>
          <c:smooth val="0"/>
          <c:extLst>
            <c:ext xmlns:c16="http://schemas.microsoft.com/office/drawing/2014/chart" uri="{C3380CC4-5D6E-409C-BE32-E72D297353CC}">
              <c16:uniqueId val="{00000000-0525-4B1E-BBAD-AA31D0DA0C93}"/>
            </c:ext>
          </c:extLst>
        </c:ser>
        <c:dLbls>
          <c:showLegendKey val="0"/>
          <c:showVal val="0"/>
          <c:showCatName val="0"/>
          <c:showSerName val="0"/>
          <c:showPercent val="0"/>
          <c:showBubbleSize val="0"/>
        </c:dLbls>
        <c:marker val="1"/>
        <c:smooth val="0"/>
        <c:axId val="579045648"/>
        <c:axId val="1"/>
      </c:lineChart>
      <c:catAx>
        <c:axId val="5790456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
        <c:crosses val="autoZero"/>
        <c:auto val="1"/>
        <c:lblAlgn val="ctr"/>
        <c:lblOffset val="100"/>
        <c:noMultiLvlLbl val="0"/>
      </c:catAx>
      <c:valAx>
        <c:axId val="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5790456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200" b="0" i="0" u="none" strike="noStrike" kern="1200" spc="0" baseline="0">
                <a:solidFill>
                  <a:schemeClr val="tx1"/>
                </a:solidFill>
                <a:latin typeface="+mn-lt"/>
                <a:ea typeface="+mn-ea"/>
                <a:cs typeface="+mn-cs"/>
              </a:defRPr>
            </a:pPr>
            <a:r>
              <a:rPr lang="fr-MA" dirty="0"/>
              <a:t>Evolution des RDV pris au niveau la plateforme Gestion des Rendez-vous</a:t>
            </a:r>
          </a:p>
        </c:rich>
      </c:tx>
      <c:overlay val="0"/>
      <c:spPr>
        <a:noFill/>
        <a:ln>
          <a:noFill/>
        </a:ln>
        <a:effectLst/>
      </c:spPr>
      <c:txPr>
        <a:bodyPr rot="0" spcFirstLastPara="1" vertOverflow="ellipsis" vert="horz" wrap="square" anchor="ctr" anchorCtr="1"/>
        <a:lstStyle/>
        <a:p>
          <a:pPr>
            <a:defRPr lang="en-US" sz="1200" b="0" i="0" u="none" strike="noStrike" kern="1200" spc="0" baseline="0">
              <a:solidFill>
                <a:schemeClr val="tx1"/>
              </a:solidFill>
              <a:latin typeface="+mn-lt"/>
              <a:ea typeface="+mn-ea"/>
              <a:cs typeface="+mn-cs"/>
            </a:defRPr>
          </a:pPr>
          <a:endParaRPr lang="fr-FR"/>
        </a:p>
      </c:txPr>
    </c:title>
    <c:autoTitleDeleted val="0"/>
    <c:plotArea>
      <c:layout/>
      <c:lineChart>
        <c:grouping val="standard"/>
        <c:varyColors val="0"/>
        <c:ser>
          <c:idx val="0"/>
          <c:order val="0"/>
          <c:tx>
            <c:strRef>
              <c:f>Sheet1!$D$4</c:f>
              <c:strCache>
                <c:ptCount val="1"/>
                <c:pt idx="0">
                  <c:v>Nombre des RDV</c:v>
                </c:pt>
              </c:strCache>
            </c:strRef>
          </c:tx>
          <c:spPr>
            <a:ln w="28575" cap="rnd">
              <a:solidFill>
                <a:schemeClr val="accent6"/>
              </a:solidFill>
              <a:round/>
            </a:ln>
            <a:effectLst/>
          </c:spPr>
          <c:marker>
            <c:symbol val="none"/>
          </c:marker>
          <c:cat>
            <c:strRef>
              <c:f>Sheet1!$C$5:$C$9</c:f>
              <c:strCache>
                <c:ptCount val="5"/>
                <c:pt idx="0">
                  <c:v>Mai</c:v>
                </c:pt>
                <c:pt idx="1">
                  <c:v>Juin</c:v>
                </c:pt>
                <c:pt idx="2">
                  <c:v>Juillet</c:v>
                </c:pt>
                <c:pt idx="3">
                  <c:v>Aout</c:v>
                </c:pt>
                <c:pt idx="4">
                  <c:v>Septembre</c:v>
                </c:pt>
              </c:strCache>
            </c:strRef>
          </c:cat>
          <c:val>
            <c:numRef>
              <c:f>Sheet1!$D$5:$D$9</c:f>
              <c:numCache>
                <c:formatCode>General</c:formatCode>
                <c:ptCount val="5"/>
                <c:pt idx="0">
                  <c:v>44</c:v>
                </c:pt>
                <c:pt idx="1">
                  <c:v>924</c:v>
                </c:pt>
                <c:pt idx="2">
                  <c:v>439</c:v>
                </c:pt>
                <c:pt idx="3">
                  <c:v>228</c:v>
                </c:pt>
                <c:pt idx="4">
                  <c:v>2802</c:v>
                </c:pt>
              </c:numCache>
            </c:numRef>
          </c:val>
          <c:smooth val="0"/>
          <c:extLst>
            <c:ext xmlns:c16="http://schemas.microsoft.com/office/drawing/2014/chart" uri="{C3380CC4-5D6E-409C-BE32-E72D297353CC}">
              <c16:uniqueId val="{00000000-5817-49F4-A6A8-96C109AA007D}"/>
            </c:ext>
          </c:extLst>
        </c:ser>
        <c:dLbls>
          <c:showLegendKey val="0"/>
          <c:showVal val="0"/>
          <c:showCatName val="0"/>
          <c:showSerName val="0"/>
          <c:showPercent val="0"/>
          <c:showBubbleSize val="0"/>
        </c:dLbls>
        <c:smooth val="0"/>
        <c:axId val="282768144"/>
        <c:axId val="282765904"/>
      </c:lineChart>
      <c:catAx>
        <c:axId val="2827681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fr-FR"/>
          </a:p>
        </c:txPr>
        <c:crossAx val="282765904"/>
        <c:crosses val="autoZero"/>
        <c:auto val="1"/>
        <c:lblAlgn val="ctr"/>
        <c:lblOffset val="100"/>
        <c:noMultiLvlLbl val="0"/>
      </c:catAx>
      <c:valAx>
        <c:axId val="2827659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fr-FR"/>
          </a:p>
        </c:txPr>
        <c:crossAx val="2827681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lang="en-US" sz="1000" b="0" i="0" u="none" strike="noStrike" kern="1200" baseline="0">
          <a:solidFill>
            <a:schemeClr val="tx1"/>
          </a:solidFill>
          <a:latin typeface="+mn-lt"/>
          <a:ea typeface="+mn-ea"/>
          <a:cs typeface="+mn-cs"/>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fr-FR" dirty="0"/>
              <a:t>Nombre des demandes</a:t>
            </a:r>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fr-FR"/>
        </a:p>
      </c:txPr>
    </c:title>
    <c:autoTitleDeleted val="0"/>
    <c:plotArea>
      <c:layout/>
      <c:barChart>
        <c:barDir val="col"/>
        <c:grouping val="clustered"/>
        <c:varyColors val="0"/>
        <c:ser>
          <c:idx val="0"/>
          <c:order val="0"/>
          <c:tx>
            <c:strRef>
              <c:f>Feuil1!$D$5</c:f>
              <c:strCache>
                <c:ptCount val="1"/>
                <c:pt idx="0">
                  <c:v>Nombre des réclamations</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Feuil1!$C$6:$C$17</c:f>
              <c:strCache>
                <c:ptCount val="12"/>
                <c:pt idx="0">
                  <c:v>Casablanca - Settat</c:v>
                </c:pt>
                <c:pt idx="1">
                  <c:v>Rabat - Salé - Kénitra</c:v>
                </c:pt>
                <c:pt idx="2">
                  <c:v>Fès - Meknès</c:v>
                </c:pt>
                <c:pt idx="3">
                  <c:v>Marrakech - Safi</c:v>
                </c:pt>
                <c:pt idx="4">
                  <c:v>Tanger - Tétouan - Al Hoceima</c:v>
                </c:pt>
                <c:pt idx="5">
                  <c:v>Oriental</c:v>
                </c:pt>
                <c:pt idx="6">
                  <c:v>Souss-Massa</c:v>
                </c:pt>
                <c:pt idx="7">
                  <c:v>Guelmim - Oued Noun</c:v>
                </c:pt>
                <c:pt idx="8">
                  <c:v>Beni Mellal - Khénifra</c:v>
                </c:pt>
                <c:pt idx="9">
                  <c:v>Laayoune - Sakia El-hamra</c:v>
                </c:pt>
                <c:pt idx="10">
                  <c:v>Daraa - Tafilalet</c:v>
                </c:pt>
                <c:pt idx="11">
                  <c:v>Dakhla - Oued Ed Dahab </c:v>
                </c:pt>
              </c:strCache>
            </c:strRef>
          </c:cat>
          <c:val>
            <c:numRef>
              <c:f>Feuil1!$D$6:$D$17</c:f>
              <c:numCache>
                <c:formatCode>General</c:formatCode>
                <c:ptCount val="12"/>
                <c:pt idx="0">
                  <c:v>183</c:v>
                </c:pt>
                <c:pt idx="1">
                  <c:v>145</c:v>
                </c:pt>
                <c:pt idx="2">
                  <c:v>122</c:v>
                </c:pt>
                <c:pt idx="3">
                  <c:v>98</c:v>
                </c:pt>
                <c:pt idx="4">
                  <c:v>68</c:v>
                </c:pt>
                <c:pt idx="5">
                  <c:v>61</c:v>
                </c:pt>
                <c:pt idx="6">
                  <c:v>50</c:v>
                </c:pt>
                <c:pt idx="7">
                  <c:v>36</c:v>
                </c:pt>
                <c:pt idx="8">
                  <c:v>34</c:v>
                </c:pt>
                <c:pt idx="9">
                  <c:v>27</c:v>
                </c:pt>
                <c:pt idx="10">
                  <c:v>26</c:v>
                </c:pt>
                <c:pt idx="11">
                  <c:v>4</c:v>
                </c:pt>
              </c:numCache>
            </c:numRef>
          </c:val>
          <c:extLst>
            <c:ext xmlns:c16="http://schemas.microsoft.com/office/drawing/2014/chart" uri="{C3380CC4-5D6E-409C-BE32-E72D297353CC}">
              <c16:uniqueId val="{00000000-C3DB-4723-9BAD-05F39941A163}"/>
            </c:ext>
          </c:extLst>
        </c:ser>
        <c:dLbls>
          <c:showLegendKey val="0"/>
          <c:showVal val="0"/>
          <c:showCatName val="0"/>
          <c:showSerName val="0"/>
          <c:showPercent val="0"/>
          <c:showBubbleSize val="0"/>
        </c:dLbls>
        <c:gapWidth val="100"/>
        <c:overlap val="-24"/>
        <c:axId val="493499384"/>
        <c:axId val="493500024"/>
      </c:barChart>
      <c:catAx>
        <c:axId val="493499384"/>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493500024"/>
        <c:crosses val="autoZero"/>
        <c:auto val="1"/>
        <c:lblAlgn val="ctr"/>
        <c:lblOffset val="100"/>
        <c:noMultiLvlLbl val="0"/>
      </c:catAx>
      <c:valAx>
        <c:axId val="4935000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4934993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withinLinear" id="16">
  <a:schemeClr val="accent3"/>
</cs:colorStyle>
</file>

<file path=ppt/charts/colors2.xml><?xml version="1.0" encoding="utf-8"?>
<cs:colorStyle xmlns:cs="http://schemas.microsoft.com/office/drawing/2012/chartStyle" xmlns:a="http://schemas.openxmlformats.org/drawingml/2006/main" meth="withinLinear" id="16">
  <a:schemeClr val="accent3"/>
</cs:colorStyle>
</file>

<file path=ppt/charts/colors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6">
  <a:schemeClr val="accent3"/>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M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BCB852-8D98-42D1-9A89-3EC2404A0FB9}" type="datetimeFigureOut">
              <a:rPr lang="fr-MA" smtClean="0"/>
              <a:t>10/11/2020</a:t>
            </a:fld>
            <a:endParaRPr lang="fr-M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M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M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M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CDAA1D-3582-40D5-AB07-9A46D2B82858}" type="slidenum">
              <a:rPr lang="fr-MA" smtClean="0"/>
              <a:t>‹N°›</a:t>
            </a:fld>
            <a:endParaRPr lang="fr-MA"/>
          </a:p>
        </p:txBody>
      </p:sp>
    </p:spTree>
    <p:extLst>
      <p:ext uri="{BB962C8B-B14F-4D97-AF65-F5344CB8AC3E}">
        <p14:creationId xmlns:p14="http://schemas.microsoft.com/office/powerpoint/2010/main" val="12511706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4.jpeg"/><Relationship Id="rId2" Type="http://schemas.openxmlformats.org/officeDocument/2006/relationships/tags" Target="../tags/tag42.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060"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F76B00E-A5B5-456C-B833-FFCE0DD1077B}"/>
              </a:ext>
            </a:extLst>
          </p:cNvPr>
          <p:cNvSpPr/>
          <p:nvPr userDrawn="1">
            <p:custDataLst>
              <p:tags r:id="rId3"/>
            </p:custDataLst>
          </p:nvPr>
        </p:nvSpPr>
        <p:spPr>
          <a:xfrm>
            <a:off x="0" y="0"/>
            <a:ext cx="161977" cy="161974"/>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3265" b="1" i="0" baseline="0" dirty="0">
              <a:solidFill>
                <a:schemeClr val="tx1"/>
              </a:solidFill>
              <a:latin typeface="Arial Narrow" panose="020B0606020202030204" pitchFamily="34" charset="0"/>
              <a:ea typeface="ＭＳ Ｐゴシック" panose="020B0600070205080204" pitchFamily="34" charset="-128"/>
              <a:cs typeface="+mj-cs"/>
              <a:sym typeface="Arial Narrow" panose="020B0606020202030204" pitchFamily="34" charset="0"/>
            </a:endParaRPr>
          </a:p>
        </p:txBody>
      </p:sp>
      <p:grpSp>
        <p:nvGrpSpPr>
          <p:cNvPr id="13543" name="Group 13542">
            <a:extLst>
              <a:ext uri="{FF2B5EF4-FFF2-40B4-BE49-F238E27FC236}">
                <a16:creationId xmlns:a16="http://schemas.microsoft.com/office/drawing/2014/main" id="{324CB67F-E6AF-4E4F-86E2-6244AF8AA2FF}"/>
              </a:ext>
            </a:extLst>
          </p:cNvPr>
          <p:cNvGrpSpPr/>
          <p:nvPr userDrawn="1"/>
        </p:nvGrpSpPr>
        <p:grpSpPr bwMode="ltGray">
          <a:xfrm flipH="1">
            <a:off x="555656" y="1677475"/>
            <a:ext cx="11636344" cy="4531276"/>
            <a:chOff x="-2860" y="1139256"/>
            <a:chExt cx="11404527" cy="4441070"/>
          </a:xfrm>
        </p:grpSpPr>
        <p:sp>
          <p:nvSpPr>
            <p:cNvPr id="7" name="Freeform: Shape 6">
              <a:extLst>
                <a:ext uri="{FF2B5EF4-FFF2-40B4-BE49-F238E27FC236}">
                  <a16:creationId xmlns:a16="http://schemas.microsoft.com/office/drawing/2014/main" id="{9FEDFC15-24CB-4F34-BF37-37868078D361}"/>
                </a:ext>
              </a:extLst>
            </p:cNvPr>
            <p:cNvSpPr/>
            <p:nvPr/>
          </p:nvSpPr>
          <p:spPr bwMode="ltGray">
            <a:xfrm>
              <a:off x="1824360" y="2593288"/>
              <a:ext cx="903520" cy="784695"/>
            </a:xfrm>
            <a:custGeom>
              <a:avLst/>
              <a:gdLst>
                <a:gd name="connsiteX0" fmla="*/ 665665 w 903520"/>
                <a:gd name="connsiteY0" fmla="*/ 762005 h 784695"/>
                <a:gd name="connsiteX1" fmla="*/ 239407 w 903520"/>
                <a:gd name="connsiteY1" fmla="*/ 762005 h 784695"/>
                <a:gd name="connsiteX2" fmla="*/ 26269 w 903520"/>
                <a:gd name="connsiteY2" fmla="*/ 392843 h 784695"/>
                <a:gd name="connsiteX3" fmla="*/ 239407 w 903520"/>
                <a:gd name="connsiteY3" fmla="*/ 23690 h 784695"/>
                <a:gd name="connsiteX4" fmla="*/ 665665 w 903520"/>
                <a:gd name="connsiteY4" fmla="*/ 23690 h 784695"/>
                <a:gd name="connsiteX5" fmla="*/ 878812 w 903520"/>
                <a:gd name="connsiteY5" fmla="*/ 392843 h 784695"/>
                <a:gd name="connsiteX6" fmla="*/ 665665 w 903520"/>
                <a:gd name="connsiteY6" fmla="*/ 762005 h 784695"/>
                <a:gd name="connsiteX7" fmla="*/ 229776 w 903520"/>
                <a:gd name="connsiteY7" fmla="*/ 7006 h 784695"/>
                <a:gd name="connsiteX8" fmla="*/ 7006 w 903520"/>
                <a:gd name="connsiteY8" fmla="*/ 392843 h 784695"/>
                <a:gd name="connsiteX9" fmla="*/ 229776 w 903520"/>
                <a:gd name="connsiteY9" fmla="*/ 778689 h 784695"/>
                <a:gd name="connsiteX10" fmla="*/ 675306 w 903520"/>
                <a:gd name="connsiteY10" fmla="*/ 778689 h 784695"/>
                <a:gd name="connsiteX11" fmla="*/ 898066 w 903520"/>
                <a:gd name="connsiteY11" fmla="*/ 392843 h 784695"/>
                <a:gd name="connsiteX12" fmla="*/ 675306 w 903520"/>
                <a:gd name="connsiteY12" fmla="*/ 7006 h 784695"/>
                <a:gd name="connsiteX13" fmla="*/ 229776 w 903520"/>
                <a:gd name="connsiteY13" fmla="*/ 7006 h 78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03520" h="784695">
                  <a:moveTo>
                    <a:pt x="665665" y="762005"/>
                  </a:moveTo>
                  <a:lnTo>
                    <a:pt x="239407" y="762005"/>
                  </a:lnTo>
                  <a:lnTo>
                    <a:pt x="26269" y="392843"/>
                  </a:lnTo>
                  <a:lnTo>
                    <a:pt x="239407" y="23690"/>
                  </a:lnTo>
                  <a:lnTo>
                    <a:pt x="665665" y="23690"/>
                  </a:lnTo>
                  <a:lnTo>
                    <a:pt x="878812" y="392843"/>
                  </a:lnTo>
                  <a:lnTo>
                    <a:pt x="665665" y="762005"/>
                  </a:lnTo>
                  <a:close/>
                  <a:moveTo>
                    <a:pt x="229776" y="7006"/>
                  </a:moveTo>
                  <a:lnTo>
                    <a:pt x="7006" y="392843"/>
                  </a:lnTo>
                  <a:lnTo>
                    <a:pt x="229776" y="778689"/>
                  </a:lnTo>
                  <a:lnTo>
                    <a:pt x="675306" y="778689"/>
                  </a:lnTo>
                  <a:lnTo>
                    <a:pt x="898066" y="392843"/>
                  </a:lnTo>
                  <a:lnTo>
                    <a:pt x="675306" y="7006"/>
                  </a:lnTo>
                  <a:lnTo>
                    <a:pt x="229776"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8" name="Freeform: Shape 7">
              <a:extLst>
                <a:ext uri="{FF2B5EF4-FFF2-40B4-BE49-F238E27FC236}">
                  <a16:creationId xmlns:a16="http://schemas.microsoft.com/office/drawing/2014/main" id="{AAD5690B-047D-44EA-B989-038AE2ECDB30}"/>
                </a:ext>
              </a:extLst>
            </p:cNvPr>
            <p:cNvSpPr/>
            <p:nvPr/>
          </p:nvSpPr>
          <p:spPr bwMode="ltGray">
            <a:xfrm>
              <a:off x="-2860" y="2970783"/>
              <a:ext cx="1764443" cy="251102"/>
            </a:xfrm>
            <a:custGeom>
              <a:avLst/>
              <a:gdLst>
                <a:gd name="connsiteX0" fmla="*/ 353870 w 1764443"/>
                <a:gd name="connsiteY0" fmla="*/ 229440 h 251102"/>
                <a:gd name="connsiteX1" fmla="*/ 7006 w 1764443"/>
                <a:gd name="connsiteY1" fmla="*/ 229440 h 251102"/>
                <a:gd name="connsiteX2" fmla="*/ 7006 w 1764443"/>
                <a:gd name="connsiteY2" fmla="*/ 246124 h 251102"/>
                <a:gd name="connsiteX3" fmla="*/ 360773 w 1764443"/>
                <a:gd name="connsiteY3" fmla="*/ 246124 h 251102"/>
                <a:gd name="connsiteX4" fmla="*/ 583207 w 1764443"/>
                <a:gd name="connsiteY4" fmla="*/ 23690 h 251102"/>
                <a:gd name="connsiteX5" fmla="*/ 1758615 w 1764443"/>
                <a:gd name="connsiteY5" fmla="*/ 23690 h 251102"/>
                <a:gd name="connsiteX6" fmla="*/ 1758615 w 1764443"/>
                <a:gd name="connsiteY6" fmla="*/ 7006 h 251102"/>
                <a:gd name="connsiteX7" fmla="*/ 576294 w 1764443"/>
                <a:gd name="connsiteY7" fmla="*/ 7006 h 251102"/>
                <a:gd name="connsiteX8" fmla="*/ 353870 w 1764443"/>
                <a:gd name="connsiteY8" fmla="*/ 229440 h 25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64443" h="251102">
                  <a:moveTo>
                    <a:pt x="353870" y="229440"/>
                  </a:moveTo>
                  <a:lnTo>
                    <a:pt x="7006" y="229440"/>
                  </a:lnTo>
                  <a:lnTo>
                    <a:pt x="7006" y="246124"/>
                  </a:lnTo>
                  <a:lnTo>
                    <a:pt x="360773" y="246124"/>
                  </a:lnTo>
                  <a:lnTo>
                    <a:pt x="583207" y="23690"/>
                  </a:lnTo>
                  <a:lnTo>
                    <a:pt x="1758615" y="23690"/>
                  </a:lnTo>
                  <a:lnTo>
                    <a:pt x="1758615" y="7006"/>
                  </a:lnTo>
                  <a:lnTo>
                    <a:pt x="576294" y="7006"/>
                  </a:lnTo>
                  <a:lnTo>
                    <a:pt x="353870" y="22944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1" name="Freeform: Shape 10">
              <a:extLst>
                <a:ext uri="{FF2B5EF4-FFF2-40B4-BE49-F238E27FC236}">
                  <a16:creationId xmlns:a16="http://schemas.microsoft.com/office/drawing/2014/main" id="{A669ED4D-1F25-43FB-BC8E-F2999BF0CA8B}"/>
                </a:ext>
              </a:extLst>
            </p:cNvPr>
            <p:cNvSpPr/>
            <p:nvPr/>
          </p:nvSpPr>
          <p:spPr bwMode="ltGray">
            <a:xfrm>
              <a:off x="2805267" y="2970783"/>
              <a:ext cx="2715045" cy="506689"/>
            </a:xfrm>
            <a:custGeom>
              <a:avLst/>
              <a:gdLst>
                <a:gd name="connsiteX0" fmla="*/ 644375 w 2715045"/>
                <a:gd name="connsiteY0" fmla="*/ 7006 h 506688"/>
                <a:gd name="connsiteX1" fmla="*/ 7006 w 2715045"/>
                <a:gd name="connsiteY1" fmla="*/ 7006 h 506688"/>
                <a:gd name="connsiteX2" fmla="*/ 7006 w 2715045"/>
                <a:gd name="connsiteY2" fmla="*/ 23690 h 506688"/>
                <a:gd name="connsiteX3" fmla="*/ 637472 w 2715045"/>
                <a:gd name="connsiteY3" fmla="*/ 23690 h 506688"/>
                <a:gd name="connsiteX4" fmla="*/ 1112932 w 2715045"/>
                <a:gd name="connsiteY4" fmla="*/ 499151 h 506688"/>
                <a:gd name="connsiteX5" fmla="*/ 1115371 w 2715045"/>
                <a:gd name="connsiteY5" fmla="*/ 501598 h 506688"/>
                <a:gd name="connsiteX6" fmla="*/ 2709489 w 2715045"/>
                <a:gd name="connsiteY6" fmla="*/ 501598 h 506688"/>
                <a:gd name="connsiteX7" fmla="*/ 2709489 w 2715045"/>
                <a:gd name="connsiteY7" fmla="*/ 484914 h 506688"/>
                <a:gd name="connsiteX8" fmla="*/ 1122283 w 2715045"/>
                <a:gd name="connsiteY8" fmla="*/ 484914 h 506688"/>
                <a:gd name="connsiteX9" fmla="*/ 644375 w 2715045"/>
                <a:gd name="connsiteY9" fmla="*/ 7006 h 50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15045" h="506688">
                  <a:moveTo>
                    <a:pt x="644375" y="7006"/>
                  </a:moveTo>
                  <a:lnTo>
                    <a:pt x="7006" y="7006"/>
                  </a:lnTo>
                  <a:lnTo>
                    <a:pt x="7006" y="23690"/>
                  </a:lnTo>
                  <a:lnTo>
                    <a:pt x="637472" y="23690"/>
                  </a:lnTo>
                  <a:lnTo>
                    <a:pt x="1112932" y="499151"/>
                  </a:lnTo>
                  <a:lnTo>
                    <a:pt x="1115371" y="501598"/>
                  </a:lnTo>
                  <a:lnTo>
                    <a:pt x="2709489" y="501598"/>
                  </a:lnTo>
                  <a:lnTo>
                    <a:pt x="2709489" y="484914"/>
                  </a:lnTo>
                  <a:lnTo>
                    <a:pt x="1122283" y="484914"/>
                  </a:lnTo>
                  <a:lnTo>
                    <a:pt x="644375"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2" name="Freeform: Shape 11">
              <a:extLst>
                <a:ext uri="{FF2B5EF4-FFF2-40B4-BE49-F238E27FC236}">
                  <a16:creationId xmlns:a16="http://schemas.microsoft.com/office/drawing/2014/main" id="{4B75C264-0E6C-430F-BC98-C38D65FC643B}"/>
                </a:ext>
              </a:extLst>
            </p:cNvPr>
            <p:cNvSpPr/>
            <p:nvPr/>
          </p:nvSpPr>
          <p:spPr bwMode="ltGray">
            <a:xfrm>
              <a:off x="-2860" y="2825904"/>
              <a:ext cx="1849639" cy="547045"/>
            </a:xfrm>
            <a:custGeom>
              <a:avLst/>
              <a:gdLst>
                <a:gd name="connsiteX0" fmla="*/ 1359392 w 1849638"/>
                <a:gd name="connsiteY0" fmla="*/ 7006 h 547044"/>
                <a:gd name="connsiteX1" fmla="*/ 650569 w 1849638"/>
                <a:gd name="connsiteY1" fmla="*/ 7006 h 547044"/>
                <a:gd name="connsiteX2" fmla="*/ 122627 w 1849638"/>
                <a:gd name="connsiteY2" fmla="*/ 534948 h 547044"/>
                <a:gd name="connsiteX3" fmla="*/ 7006 w 1849638"/>
                <a:gd name="connsiteY3" fmla="*/ 534948 h 547044"/>
                <a:gd name="connsiteX4" fmla="*/ 7006 w 1849638"/>
                <a:gd name="connsiteY4" fmla="*/ 540506 h 547044"/>
                <a:gd name="connsiteX5" fmla="*/ 124925 w 1849638"/>
                <a:gd name="connsiteY5" fmla="*/ 540506 h 547044"/>
                <a:gd name="connsiteX6" fmla="*/ 652876 w 1849638"/>
                <a:gd name="connsiteY6" fmla="*/ 12564 h 547044"/>
                <a:gd name="connsiteX7" fmla="*/ 1357094 w 1849638"/>
                <a:gd name="connsiteY7" fmla="*/ 12564 h 547044"/>
                <a:gd name="connsiteX8" fmla="*/ 1688105 w 1849638"/>
                <a:gd name="connsiteY8" fmla="*/ 343576 h 547044"/>
                <a:gd name="connsiteX9" fmla="*/ 1843858 w 1849638"/>
                <a:gd name="connsiteY9" fmla="*/ 343576 h 547044"/>
                <a:gd name="connsiteX10" fmla="*/ 1843858 w 1849638"/>
                <a:gd name="connsiteY10" fmla="*/ 338017 h 547044"/>
                <a:gd name="connsiteX11" fmla="*/ 1690412 w 1849638"/>
                <a:gd name="connsiteY11" fmla="*/ 338017 h 547044"/>
                <a:gd name="connsiteX12" fmla="*/ 1359392 w 1849638"/>
                <a:gd name="connsiteY12" fmla="*/ 7006 h 547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49638" h="547044">
                  <a:moveTo>
                    <a:pt x="1359392" y="7006"/>
                  </a:moveTo>
                  <a:lnTo>
                    <a:pt x="650569" y="7006"/>
                  </a:lnTo>
                  <a:lnTo>
                    <a:pt x="122627" y="534948"/>
                  </a:lnTo>
                  <a:lnTo>
                    <a:pt x="7006" y="534948"/>
                  </a:lnTo>
                  <a:lnTo>
                    <a:pt x="7006" y="540506"/>
                  </a:lnTo>
                  <a:lnTo>
                    <a:pt x="124925" y="540506"/>
                  </a:lnTo>
                  <a:lnTo>
                    <a:pt x="652876" y="12564"/>
                  </a:lnTo>
                  <a:lnTo>
                    <a:pt x="1357094" y="12564"/>
                  </a:lnTo>
                  <a:lnTo>
                    <a:pt x="1688105" y="343576"/>
                  </a:lnTo>
                  <a:lnTo>
                    <a:pt x="1843858" y="343576"/>
                  </a:lnTo>
                  <a:lnTo>
                    <a:pt x="1843858" y="338017"/>
                  </a:lnTo>
                  <a:lnTo>
                    <a:pt x="1690412" y="338017"/>
                  </a:lnTo>
                  <a:lnTo>
                    <a:pt x="1359392"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4" name="Freeform: Shape 13">
              <a:extLst>
                <a:ext uri="{FF2B5EF4-FFF2-40B4-BE49-F238E27FC236}">
                  <a16:creationId xmlns:a16="http://schemas.microsoft.com/office/drawing/2014/main" id="{D165D9A9-88F2-4C93-8A1E-66AE2895F9F3}"/>
                </a:ext>
              </a:extLst>
            </p:cNvPr>
            <p:cNvSpPr/>
            <p:nvPr/>
          </p:nvSpPr>
          <p:spPr bwMode="ltGray">
            <a:xfrm>
              <a:off x="-2860" y="3270322"/>
              <a:ext cx="3017714" cy="851955"/>
            </a:xfrm>
            <a:custGeom>
              <a:avLst/>
              <a:gdLst>
                <a:gd name="connsiteX0" fmla="*/ 2028738 w 3017713"/>
                <a:gd name="connsiteY0" fmla="*/ 415693 h 851954"/>
                <a:gd name="connsiteX1" fmla="*/ 877738 w 3017713"/>
                <a:gd name="connsiteY1" fmla="*/ 415693 h 851954"/>
                <a:gd name="connsiteX2" fmla="*/ 469052 w 3017713"/>
                <a:gd name="connsiteY2" fmla="*/ 7006 h 851954"/>
                <a:gd name="connsiteX3" fmla="*/ 7006 w 3017713"/>
                <a:gd name="connsiteY3" fmla="*/ 7006 h 851954"/>
                <a:gd name="connsiteX4" fmla="*/ 7006 w 3017713"/>
                <a:gd name="connsiteY4" fmla="*/ 12574 h 851954"/>
                <a:gd name="connsiteX5" fmla="*/ 466745 w 3017713"/>
                <a:gd name="connsiteY5" fmla="*/ 12574 h 851954"/>
                <a:gd name="connsiteX6" fmla="*/ 875440 w 3017713"/>
                <a:gd name="connsiteY6" fmla="*/ 421251 h 851954"/>
                <a:gd name="connsiteX7" fmla="*/ 2026440 w 3017713"/>
                <a:gd name="connsiteY7" fmla="*/ 421251 h 851954"/>
                <a:gd name="connsiteX8" fmla="*/ 2451810 w 3017713"/>
                <a:gd name="connsiteY8" fmla="*/ 846621 h 851954"/>
                <a:gd name="connsiteX9" fmla="*/ 3011775 w 3017713"/>
                <a:gd name="connsiteY9" fmla="*/ 846621 h 851954"/>
                <a:gd name="connsiteX10" fmla="*/ 3011775 w 3017713"/>
                <a:gd name="connsiteY10" fmla="*/ 841063 h 851954"/>
                <a:gd name="connsiteX11" fmla="*/ 2454108 w 3017713"/>
                <a:gd name="connsiteY11" fmla="*/ 841063 h 851954"/>
                <a:gd name="connsiteX12" fmla="*/ 2028738 w 3017713"/>
                <a:gd name="connsiteY12" fmla="*/ 415693 h 851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17713" h="851954">
                  <a:moveTo>
                    <a:pt x="2028738" y="415693"/>
                  </a:moveTo>
                  <a:lnTo>
                    <a:pt x="877738" y="415693"/>
                  </a:lnTo>
                  <a:lnTo>
                    <a:pt x="469052" y="7006"/>
                  </a:lnTo>
                  <a:lnTo>
                    <a:pt x="7006" y="7006"/>
                  </a:lnTo>
                  <a:lnTo>
                    <a:pt x="7006" y="12574"/>
                  </a:lnTo>
                  <a:lnTo>
                    <a:pt x="466745" y="12574"/>
                  </a:lnTo>
                  <a:lnTo>
                    <a:pt x="875440" y="421251"/>
                  </a:lnTo>
                  <a:lnTo>
                    <a:pt x="2026440" y="421251"/>
                  </a:lnTo>
                  <a:lnTo>
                    <a:pt x="2451810" y="846621"/>
                  </a:lnTo>
                  <a:lnTo>
                    <a:pt x="3011775" y="846621"/>
                  </a:lnTo>
                  <a:lnTo>
                    <a:pt x="3011775" y="841063"/>
                  </a:lnTo>
                  <a:lnTo>
                    <a:pt x="2454108" y="841063"/>
                  </a:lnTo>
                  <a:lnTo>
                    <a:pt x="2028738" y="41569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5" name="Freeform: Shape 14">
              <a:extLst>
                <a:ext uri="{FF2B5EF4-FFF2-40B4-BE49-F238E27FC236}">
                  <a16:creationId xmlns:a16="http://schemas.microsoft.com/office/drawing/2014/main" id="{27D8299B-4526-42CE-B345-23D469152E5B}"/>
                </a:ext>
              </a:extLst>
            </p:cNvPr>
            <p:cNvSpPr/>
            <p:nvPr/>
          </p:nvSpPr>
          <p:spPr bwMode="ltGray">
            <a:xfrm>
              <a:off x="5300180" y="3627219"/>
              <a:ext cx="775727" cy="672596"/>
            </a:xfrm>
            <a:custGeom>
              <a:avLst/>
              <a:gdLst>
                <a:gd name="connsiteX0" fmla="*/ 556097 w 775727"/>
                <a:gd name="connsiteY0" fmla="*/ 627897 h 672595"/>
                <a:gd name="connsiteX1" fmla="*/ 220368 w 775727"/>
                <a:gd name="connsiteY1" fmla="*/ 627897 h 672595"/>
                <a:gd name="connsiteX2" fmla="*/ 52500 w 775727"/>
                <a:gd name="connsiteY2" fmla="*/ 337148 h 672595"/>
                <a:gd name="connsiteX3" fmla="*/ 220368 w 775727"/>
                <a:gd name="connsiteY3" fmla="*/ 46400 h 672595"/>
                <a:gd name="connsiteX4" fmla="*/ 556097 w 775727"/>
                <a:gd name="connsiteY4" fmla="*/ 46400 h 672595"/>
                <a:gd name="connsiteX5" fmla="*/ 723957 w 775727"/>
                <a:gd name="connsiteY5" fmla="*/ 337148 h 672595"/>
                <a:gd name="connsiteX6" fmla="*/ 556097 w 775727"/>
                <a:gd name="connsiteY6" fmla="*/ 627897 h 672595"/>
                <a:gd name="connsiteX7" fmla="*/ 197622 w 775727"/>
                <a:gd name="connsiteY7" fmla="*/ 7006 h 672595"/>
                <a:gd name="connsiteX8" fmla="*/ 7006 w 775727"/>
                <a:gd name="connsiteY8" fmla="*/ 337148 h 672595"/>
                <a:gd name="connsiteX9" fmla="*/ 197622 w 775727"/>
                <a:gd name="connsiteY9" fmla="*/ 667290 h 672595"/>
                <a:gd name="connsiteX10" fmla="*/ 578835 w 775727"/>
                <a:gd name="connsiteY10" fmla="*/ 667290 h 672595"/>
                <a:gd name="connsiteX11" fmla="*/ 769441 w 775727"/>
                <a:gd name="connsiteY11" fmla="*/ 337148 h 672595"/>
                <a:gd name="connsiteX12" fmla="*/ 578835 w 775727"/>
                <a:gd name="connsiteY12" fmla="*/ 7006 h 672595"/>
                <a:gd name="connsiteX13" fmla="*/ 197622 w 775727"/>
                <a:gd name="connsiteY13" fmla="*/ 7006 h 672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5727" h="672595">
                  <a:moveTo>
                    <a:pt x="556097" y="627897"/>
                  </a:moveTo>
                  <a:lnTo>
                    <a:pt x="220368" y="627897"/>
                  </a:lnTo>
                  <a:lnTo>
                    <a:pt x="52500" y="337148"/>
                  </a:lnTo>
                  <a:lnTo>
                    <a:pt x="220368" y="46400"/>
                  </a:lnTo>
                  <a:lnTo>
                    <a:pt x="556097" y="46400"/>
                  </a:lnTo>
                  <a:lnTo>
                    <a:pt x="723957" y="337148"/>
                  </a:lnTo>
                  <a:lnTo>
                    <a:pt x="556097" y="627897"/>
                  </a:lnTo>
                  <a:close/>
                  <a:moveTo>
                    <a:pt x="197622" y="7006"/>
                  </a:moveTo>
                  <a:lnTo>
                    <a:pt x="7006" y="337148"/>
                  </a:lnTo>
                  <a:lnTo>
                    <a:pt x="197622" y="667290"/>
                  </a:lnTo>
                  <a:lnTo>
                    <a:pt x="578835" y="667290"/>
                  </a:lnTo>
                  <a:lnTo>
                    <a:pt x="769441" y="337148"/>
                  </a:lnTo>
                  <a:lnTo>
                    <a:pt x="578835" y="7006"/>
                  </a:lnTo>
                  <a:lnTo>
                    <a:pt x="197622"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6" name="Freeform: Shape 15">
              <a:extLst>
                <a:ext uri="{FF2B5EF4-FFF2-40B4-BE49-F238E27FC236}">
                  <a16:creationId xmlns:a16="http://schemas.microsoft.com/office/drawing/2014/main" id="{0D2EC36D-4A99-4E84-86C6-72BA023FD7FD}"/>
                </a:ext>
              </a:extLst>
            </p:cNvPr>
            <p:cNvSpPr/>
            <p:nvPr/>
          </p:nvSpPr>
          <p:spPr bwMode="ltGray">
            <a:xfrm>
              <a:off x="2337439" y="1928436"/>
              <a:ext cx="576190" cy="502205"/>
            </a:xfrm>
            <a:custGeom>
              <a:avLst/>
              <a:gdLst>
                <a:gd name="connsiteX0" fmla="*/ 397635 w 576190"/>
                <a:gd name="connsiteY0" fmla="*/ 439299 h 502204"/>
                <a:gd name="connsiteX1" fmla="*/ 180536 w 576190"/>
                <a:gd name="connsiteY1" fmla="*/ 439299 h 502204"/>
                <a:gd name="connsiteX2" fmla="*/ 71987 w 576190"/>
                <a:gd name="connsiteY2" fmla="*/ 251289 h 502204"/>
                <a:gd name="connsiteX3" fmla="*/ 180536 w 576190"/>
                <a:gd name="connsiteY3" fmla="*/ 63280 h 502204"/>
                <a:gd name="connsiteX4" fmla="*/ 397635 w 576190"/>
                <a:gd name="connsiteY4" fmla="*/ 63280 h 502204"/>
                <a:gd name="connsiteX5" fmla="*/ 506185 w 576190"/>
                <a:gd name="connsiteY5" fmla="*/ 251289 h 502204"/>
                <a:gd name="connsiteX6" fmla="*/ 397635 w 576190"/>
                <a:gd name="connsiteY6" fmla="*/ 439299 h 502204"/>
                <a:gd name="connsiteX7" fmla="*/ 148046 w 576190"/>
                <a:gd name="connsiteY7" fmla="*/ 7006 h 502204"/>
                <a:gd name="connsiteX8" fmla="*/ 7006 w 576190"/>
                <a:gd name="connsiteY8" fmla="*/ 251289 h 502204"/>
                <a:gd name="connsiteX9" fmla="*/ 148046 w 576190"/>
                <a:gd name="connsiteY9" fmla="*/ 495582 h 502204"/>
                <a:gd name="connsiteX10" fmla="*/ 430125 w 576190"/>
                <a:gd name="connsiteY10" fmla="*/ 495582 h 502204"/>
                <a:gd name="connsiteX11" fmla="*/ 571165 w 576190"/>
                <a:gd name="connsiteY11" fmla="*/ 251289 h 502204"/>
                <a:gd name="connsiteX12" fmla="*/ 430125 w 576190"/>
                <a:gd name="connsiteY12" fmla="*/ 7006 h 502204"/>
                <a:gd name="connsiteX13" fmla="*/ 148046 w 576190"/>
                <a:gd name="connsiteY13" fmla="*/ 7006 h 502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6190" h="502204">
                  <a:moveTo>
                    <a:pt x="397635" y="439299"/>
                  </a:moveTo>
                  <a:lnTo>
                    <a:pt x="180536" y="439299"/>
                  </a:lnTo>
                  <a:lnTo>
                    <a:pt x="71987" y="251289"/>
                  </a:lnTo>
                  <a:lnTo>
                    <a:pt x="180536" y="63280"/>
                  </a:lnTo>
                  <a:lnTo>
                    <a:pt x="397635" y="63280"/>
                  </a:lnTo>
                  <a:lnTo>
                    <a:pt x="506185" y="251289"/>
                  </a:lnTo>
                  <a:lnTo>
                    <a:pt x="397635" y="439299"/>
                  </a:lnTo>
                  <a:close/>
                  <a:moveTo>
                    <a:pt x="148046" y="7006"/>
                  </a:moveTo>
                  <a:lnTo>
                    <a:pt x="7006" y="251289"/>
                  </a:lnTo>
                  <a:lnTo>
                    <a:pt x="148046" y="495582"/>
                  </a:lnTo>
                  <a:lnTo>
                    <a:pt x="430125" y="495582"/>
                  </a:lnTo>
                  <a:lnTo>
                    <a:pt x="571165" y="251289"/>
                  </a:lnTo>
                  <a:lnTo>
                    <a:pt x="430125" y="7006"/>
                  </a:lnTo>
                  <a:lnTo>
                    <a:pt x="148046"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7" name="Freeform: Shape 16">
              <a:extLst>
                <a:ext uri="{FF2B5EF4-FFF2-40B4-BE49-F238E27FC236}">
                  <a16:creationId xmlns:a16="http://schemas.microsoft.com/office/drawing/2014/main" id="{80BD8807-D996-4529-89F5-121C9BECFF13}"/>
                </a:ext>
              </a:extLst>
            </p:cNvPr>
            <p:cNvSpPr/>
            <p:nvPr/>
          </p:nvSpPr>
          <p:spPr bwMode="ltGray">
            <a:xfrm>
              <a:off x="2819261" y="4481154"/>
              <a:ext cx="309394" cy="309394"/>
            </a:xfrm>
            <a:custGeom>
              <a:avLst/>
              <a:gdLst>
                <a:gd name="connsiteX0" fmla="*/ 155753 w 309394"/>
                <a:gd name="connsiteY0" fmla="*/ 276353 h 309394"/>
                <a:gd name="connsiteX1" fmla="*/ 35143 w 309394"/>
                <a:gd name="connsiteY1" fmla="*/ 155743 h 309394"/>
                <a:gd name="connsiteX2" fmla="*/ 155753 w 309394"/>
                <a:gd name="connsiteY2" fmla="*/ 35134 h 309394"/>
                <a:gd name="connsiteX3" fmla="*/ 276353 w 309394"/>
                <a:gd name="connsiteY3" fmla="*/ 155743 h 309394"/>
                <a:gd name="connsiteX4" fmla="*/ 155753 w 309394"/>
                <a:gd name="connsiteY4" fmla="*/ 276353 h 309394"/>
                <a:gd name="connsiteX5" fmla="*/ 155753 w 309394"/>
                <a:gd name="connsiteY5" fmla="*/ 7006 h 309394"/>
                <a:gd name="connsiteX6" fmla="*/ 7006 w 309394"/>
                <a:gd name="connsiteY6" fmla="*/ 155743 h 309394"/>
                <a:gd name="connsiteX7" fmla="*/ 155753 w 309394"/>
                <a:gd name="connsiteY7" fmla="*/ 304481 h 309394"/>
                <a:gd name="connsiteX8" fmla="*/ 304490 w 309394"/>
                <a:gd name="connsiteY8" fmla="*/ 155743 h 309394"/>
                <a:gd name="connsiteX9" fmla="*/ 155753 w 309394"/>
                <a:gd name="connsiteY9" fmla="*/ 7006 h 30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9394" h="309394">
                  <a:moveTo>
                    <a:pt x="155753" y="276353"/>
                  </a:moveTo>
                  <a:cubicBezTo>
                    <a:pt x="89241" y="276353"/>
                    <a:pt x="35143" y="222246"/>
                    <a:pt x="35143" y="155743"/>
                  </a:cubicBezTo>
                  <a:cubicBezTo>
                    <a:pt x="35143" y="89241"/>
                    <a:pt x="89241" y="35134"/>
                    <a:pt x="155753" y="35134"/>
                  </a:cubicBezTo>
                  <a:cubicBezTo>
                    <a:pt x="222247" y="35134"/>
                    <a:pt x="276353" y="89241"/>
                    <a:pt x="276353" y="155743"/>
                  </a:cubicBezTo>
                  <a:cubicBezTo>
                    <a:pt x="276353" y="222246"/>
                    <a:pt x="222247" y="276353"/>
                    <a:pt x="155753" y="276353"/>
                  </a:cubicBezTo>
                  <a:close/>
                  <a:moveTo>
                    <a:pt x="155753" y="7006"/>
                  </a:moveTo>
                  <a:cubicBezTo>
                    <a:pt x="73733" y="7006"/>
                    <a:pt x="7006" y="73724"/>
                    <a:pt x="7006" y="155743"/>
                  </a:cubicBezTo>
                  <a:cubicBezTo>
                    <a:pt x="7006" y="237763"/>
                    <a:pt x="73733" y="304481"/>
                    <a:pt x="155753" y="304481"/>
                  </a:cubicBezTo>
                  <a:cubicBezTo>
                    <a:pt x="237763" y="304481"/>
                    <a:pt x="304490" y="237763"/>
                    <a:pt x="304490" y="155743"/>
                  </a:cubicBezTo>
                  <a:cubicBezTo>
                    <a:pt x="304490" y="73724"/>
                    <a:pt x="237763" y="7006"/>
                    <a:pt x="155753"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8" name="Freeform: Shape 17">
              <a:extLst>
                <a:ext uri="{FF2B5EF4-FFF2-40B4-BE49-F238E27FC236}">
                  <a16:creationId xmlns:a16="http://schemas.microsoft.com/office/drawing/2014/main" id="{66DE31F6-94CA-4A88-A859-62DFCD8174E9}"/>
                </a:ext>
              </a:extLst>
            </p:cNvPr>
            <p:cNvSpPr/>
            <p:nvPr/>
          </p:nvSpPr>
          <p:spPr bwMode="ltGray">
            <a:xfrm>
              <a:off x="3906961" y="4602044"/>
              <a:ext cx="103131" cy="103131"/>
            </a:xfrm>
            <a:custGeom>
              <a:avLst/>
              <a:gdLst>
                <a:gd name="connsiteX0" fmla="*/ 51734 w 103131"/>
                <a:gd name="connsiteY0" fmla="*/ 88007 h 103131"/>
                <a:gd name="connsiteX1" fmla="*/ 15470 w 103131"/>
                <a:gd name="connsiteY1" fmla="*/ 51734 h 103131"/>
                <a:gd name="connsiteX2" fmla="*/ 51734 w 103131"/>
                <a:gd name="connsiteY2" fmla="*/ 15469 h 103131"/>
                <a:gd name="connsiteX3" fmla="*/ 88008 w 103131"/>
                <a:gd name="connsiteY3" fmla="*/ 51734 h 103131"/>
                <a:gd name="connsiteX4" fmla="*/ 51734 w 103131"/>
                <a:gd name="connsiteY4" fmla="*/ 88007 h 103131"/>
                <a:gd name="connsiteX5" fmla="*/ 51734 w 103131"/>
                <a:gd name="connsiteY5" fmla="*/ 7006 h 103131"/>
                <a:gd name="connsiteX6" fmla="*/ 7006 w 103131"/>
                <a:gd name="connsiteY6" fmla="*/ 51734 h 103131"/>
                <a:gd name="connsiteX7" fmla="*/ 51734 w 103131"/>
                <a:gd name="connsiteY7" fmla="*/ 96471 h 103131"/>
                <a:gd name="connsiteX8" fmla="*/ 96471 w 103131"/>
                <a:gd name="connsiteY8" fmla="*/ 51734 h 103131"/>
                <a:gd name="connsiteX9" fmla="*/ 51734 w 103131"/>
                <a:gd name="connsiteY9" fmla="*/ 7006 h 10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131" h="103131">
                  <a:moveTo>
                    <a:pt x="51734" y="88007"/>
                  </a:moveTo>
                  <a:cubicBezTo>
                    <a:pt x="31734" y="88007"/>
                    <a:pt x="15470" y="71744"/>
                    <a:pt x="15470" y="51734"/>
                  </a:cubicBezTo>
                  <a:cubicBezTo>
                    <a:pt x="15470" y="31734"/>
                    <a:pt x="31734" y="15469"/>
                    <a:pt x="51734" y="15469"/>
                  </a:cubicBezTo>
                  <a:cubicBezTo>
                    <a:pt x="71734" y="15469"/>
                    <a:pt x="88008" y="31734"/>
                    <a:pt x="88008" y="51734"/>
                  </a:cubicBezTo>
                  <a:cubicBezTo>
                    <a:pt x="88008" y="71744"/>
                    <a:pt x="71734" y="88007"/>
                    <a:pt x="51734" y="88007"/>
                  </a:cubicBezTo>
                  <a:close/>
                  <a:moveTo>
                    <a:pt x="51734" y="7006"/>
                  </a:moveTo>
                  <a:cubicBezTo>
                    <a:pt x="27072" y="7006"/>
                    <a:pt x="7006" y="27063"/>
                    <a:pt x="7006" y="51734"/>
                  </a:cubicBezTo>
                  <a:cubicBezTo>
                    <a:pt x="7006" y="76405"/>
                    <a:pt x="27072" y="96471"/>
                    <a:pt x="51734" y="96471"/>
                  </a:cubicBezTo>
                  <a:cubicBezTo>
                    <a:pt x="76405" y="96471"/>
                    <a:pt x="96471" y="76405"/>
                    <a:pt x="96471" y="51734"/>
                  </a:cubicBezTo>
                  <a:cubicBezTo>
                    <a:pt x="96471" y="27063"/>
                    <a:pt x="76405" y="7006"/>
                    <a:pt x="51734"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9" name="Freeform: Shape 18">
              <a:extLst>
                <a:ext uri="{FF2B5EF4-FFF2-40B4-BE49-F238E27FC236}">
                  <a16:creationId xmlns:a16="http://schemas.microsoft.com/office/drawing/2014/main" id="{651A8BD3-A76D-46D4-B266-F379C504A9A2}"/>
                </a:ext>
              </a:extLst>
            </p:cNvPr>
            <p:cNvSpPr/>
            <p:nvPr/>
          </p:nvSpPr>
          <p:spPr bwMode="ltGray">
            <a:xfrm>
              <a:off x="695080" y="3091467"/>
              <a:ext cx="103131" cy="103131"/>
            </a:xfrm>
            <a:custGeom>
              <a:avLst/>
              <a:gdLst>
                <a:gd name="connsiteX0" fmla="*/ 51743 w 103131"/>
                <a:gd name="connsiteY0" fmla="*/ 88007 h 103131"/>
                <a:gd name="connsiteX1" fmla="*/ 15470 w 103131"/>
                <a:gd name="connsiteY1" fmla="*/ 51734 h 103131"/>
                <a:gd name="connsiteX2" fmla="*/ 51743 w 103131"/>
                <a:gd name="connsiteY2" fmla="*/ 15470 h 103131"/>
                <a:gd name="connsiteX3" fmla="*/ 88017 w 103131"/>
                <a:gd name="connsiteY3" fmla="*/ 51734 h 103131"/>
                <a:gd name="connsiteX4" fmla="*/ 51743 w 103131"/>
                <a:gd name="connsiteY4" fmla="*/ 88007 h 103131"/>
                <a:gd name="connsiteX5" fmla="*/ 51743 w 103131"/>
                <a:gd name="connsiteY5" fmla="*/ 7006 h 103131"/>
                <a:gd name="connsiteX6" fmla="*/ 7006 w 103131"/>
                <a:gd name="connsiteY6" fmla="*/ 51734 h 103131"/>
                <a:gd name="connsiteX7" fmla="*/ 51743 w 103131"/>
                <a:gd name="connsiteY7" fmla="*/ 96471 h 103131"/>
                <a:gd name="connsiteX8" fmla="*/ 96471 w 103131"/>
                <a:gd name="connsiteY8" fmla="*/ 51734 h 103131"/>
                <a:gd name="connsiteX9" fmla="*/ 51743 w 103131"/>
                <a:gd name="connsiteY9" fmla="*/ 7006 h 10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131" h="103131">
                  <a:moveTo>
                    <a:pt x="51743" y="88007"/>
                  </a:moveTo>
                  <a:cubicBezTo>
                    <a:pt x="31743" y="88007"/>
                    <a:pt x="15470" y="71744"/>
                    <a:pt x="15470" y="51734"/>
                  </a:cubicBezTo>
                  <a:cubicBezTo>
                    <a:pt x="15470" y="31734"/>
                    <a:pt x="31743" y="15470"/>
                    <a:pt x="51743" y="15470"/>
                  </a:cubicBezTo>
                  <a:cubicBezTo>
                    <a:pt x="71744" y="15470"/>
                    <a:pt x="88017" y="31734"/>
                    <a:pt x="88017" y="51734"/>
                  </a:cubicBezTo>
                  <a:cubicBezTo>
                    <a:pt x="88017" y="71744"/>
                    <a:pt x="71744" y="88007"/>
                    <a:pt x="51743" y="88007"/>
                  </a:cubicBezTo>
                  <a:close/>
                  <a:moveTo>
                    <a:pt x="51743" y="7006"/>
                  </a:moveTo>
                  <a:cubicBezTo>
                    <a:pt x="27072" y="7006"/>
                    <a:pt x="7006" y="27072"/>
                    <a:pt x="7006" y="51734"/>
                  </a:cubicBezTo>
                  <a:cubicBezTo>
                    <a:pt x="7006" y="76405"/>
                    <a:pt x="27072" y="96471"/>
                    <a:pt x="51743" y="96471"/>
                  </a:cubicBezTo>
                  <a:cubicBezTo>
                    <a:pt x="76405" y="96471"/>
                    <a:pt x="96471" y="76405"/>
                    <a:pt x="96471" y="51734"/>
                  </a:cubicBezTo>
                  <a:cubicBezTo>
                    <a:pt x="96471" y="27072"/>
                    <a:pt x="76405" y="7006"/>
                    <a:pt x="51743"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0" name="Freeform: Shape 19">
              <a:extLst>
                <a:ext uri="{FF2B5EF4-FFF2-40B4-BE49-F238E27FC236}">
                  <a16:creationId xmlns:a16="http://schemas.microsoft.com/office/drawing/2014/main" id="{34083F2C-93A2-439D-8F39-67F12681D165}"/>
                </a:ext>
              </a:extLst>
            </p:cNvPr>
            <p:cNvSpPr/>
            <p:nvPr/>
          </p:nvSpPr>
          <p:spPr bwMode="ltGray">
            <a:xfrm>
              <a:off x="4058912" y="4602044"/>
              <a:ext cx="103131" cy="103131"/>
            </a:xfrm>
            <a:custGeom>
              <a:avLst/>
              <a:gdLst>
                <a:gd name="connsiteX0" fmla="*/ 51734 w 103131"/>
                <a:gd name="connsiteY0" fmla="*/ 88007 h 103131"/>
                <a:gd name="connsiteX1" fmla="*/ 15470 w 103131"/>
                <a:gd name="connsiteY1" fmla="*/ 51734 h 103131"/>
                <a:gd name="connsiteX2" fmla="*/ 51734 w 103131"/>
                <a:gd name="connsiteY2" fmla="*/ 15469 h 103131"/>
                <a:gd name="connsiteX3" fmla="*/ 88008 w 103131"/>
                <a:gd name="connsiteY3" fmla="*/ 51734 h 103131"/>
                <a:gd name="connsiteX4" fmla="*/ 51734 w 103131"/>
                <a:gd name="connsiteY4" fmla="*/ 88007 h 103131"/>
                <a:gd name="connsiteX5" fmla="*/ 51734 w 103131"/>
                <a:gd name="connsiteY5" fmla="*/ 7006 h 103131"/>
                <a:gd name="connsiteX6" fmla="*/ 7006 w 103131"/>
                <a:gd name="connsiteY6" fmla="*/ 51734 h 103131"/>
                <a:gd name="connsiteX7" fmla="*/ 51734 w 103131"/>
                <a:gd name="connsiteY7" fmla="*/ 96471 h 103131"/>
                <a:gd name="connsiteX8" fmla="*/ 96480 w 103131"/>
                <a:gd name="connsiteY8" fmla="*/ 51734 h 103131"/>
                <a:gd name="connsiteX9" fmla="*/ 51734 w 103131"/>
                <a:gd name="connsiteY9" fmla="*/ 7006 h 10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131" h="103131">
                  <a:moveTo>
                    <a:pt x="51734" y="88007"/>
                  </a:moveTo>
                  <a:cubicBezTo>
                    <a:pt x="31743" y="88007"/>
                    <a:pt x="15470" y="71744"/>
                    <a:pt x="15470" y="51734"/>
                  </a:cubicBezTo>
                  <a:cubicBezTo>
                    <a:pt x="15470" y="31734"/>
                    <a:pt x="31743" y="15469"/>
                    <a:pt x="51734" y="15469"/>
                  </a:cubicBezTo>
                  <a:cubicBezTo>
                    <a:pt x="71744" y="15469"/>
                    <a:pt x="88008" y="31734"/>
                    <a:pt x="88008" y="51734"/>
                  </a:cubicBezTo>
                  <a:cubicBezTo>
                    <a:pt x="88008" y="71744"/>
                    <a:pt x="71744" y="88007"/>
                    <a:pt x="51734" y="88007"/>
                  </a:cubicBezTo>
                  <a:close/>
                  <a:moveTo>
                    <a:pt x="51734" y="7006"/>
                  </a:moveTo>
                  <a:cubicBezTo>
                    <a:pt x="27072" y="7006"/>
                    <a:pt x="7006" y="27063"/>
                    <a:pt x="7006" y="51734"/>
                  </a:cubicBezTo>
                  <a:cubicBezTo>
                    <a:pt x="7006" y="76405"/>
                    <a:pt x="27072" y="96471"/>
                    <a:pt x="51734" y="96471"/>
                  </a:cubicBezTo>
                  <a:cubicBezTo>
                    <a:pt x="76405" y="96471"/>
                    <a:pt x="96480" y="76405"/>
                    <a:pt x="96480" y="51734"/>
                  </a:cubicBezTo>
                  <a:cubicBezTo>
                    <a:pt x="96480" y="27063"/>
                    <a:pt x="76405" y="7006"/>
                    <a:pt x="51734"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1" name="Freeform: Shape 20">
              <a:extLst>
                <a:ext uri="{FF2B5EF4-FFF2-40B4-BE49-F238E27FC236}">
                  <a16:creationId xmlns:a16="http://schemas.microsoft.com/office/drawing/2014/main" id="{192168E2-3566-46D6-A5ED-D6FD7BA0B944}"/>
                </a:ext>
              </a:extLst>
            </p:cNvPr>
            <p:cNvSpPr/>
            <p:nvPr/>
          </p:nvSpPr>
          <p:spPr bwMode="ltGray">
            <a:xfrm>
              <a:off x="4210872" y="4602044"/>
              <a:ext cx="103131" cy="103131"/>
            </a:xfrm>
            <a:custGeom>
              <a:avLst/>
              <a:gdLst>
                <a:gd name="connsiteX0" fmla="*/ 51734 w 103131"/>
                <a:gd name="connsiteY0" fmla="*/ 88007 h 103131"/>
                <a:gd name="connsiteX1" fmla="*/ 15469 w 103131"/>
                <a:gd name="connsiteY1" fmla="*/ 51734 h 103131"/>
                <a:gd name="connsiteX2" fmla="*/ 51734 w 103131"/>
                <a:gd name="connsiteY2" fmla="*/ 15469 h 103131"/>
                <a:gd name="connsiteX3" fmla="*/ 88007 w 103131"/>
                <a:gd name="connsiteY3" fmla="*/ 51734 h 103131"/>
                <a:gd name="connsiteX4" fmla="*/ 51734 w 103131"/>
                <a:gd name="connsiteY4" fmla="*/ 88007 h 103131"/>
                <a:gd name="connsiteX5" fmla="*/ 51734 w 103131"/>
                <a:gd name="connsiteY5" fmla="*/ 7006 h 103131"/>
                <a:gd name="connsiteX6" fmla="*/ 7006 w 103131"/>
                <a:gd name="connsiteY6" fmla="*/ 51734 h 103131"/>
                <a:gd name="connsiteX7" fmla="*/ 51734 w 103131"/>
                <a:gd name="connsiteY7" fmla="*/ 96471 h 103131"/>
                <a:gd name="connsiteX8" fmla="*/ 96471 w 103131"/>
                <a:gd name="connsiteY8" fmla="*/ 51734 h 103131"/>
                <a:gd name="connsiteX9" fmla="*/ 51734 w 103131"/>
                <a:gd name="connsiteY9" fmla="*/ 7006 h 10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131" h="103131">
                  <a:moveTo>
                    <a:pt x="51734" y="88007"/>
                  </a:moveTo>
                  <a:cubicBezTo>
                    <a:pt x="31733" y="88007"/>
                    <a:pt x="15469" y="71744"/>
                    <a:pt x="15469" y="51734"/>
                  </a:cubicBezTo>
                  <a:cubicBezTo>
                    <a:pt x="15469" y="31734"/>
                    <a:pt x="31733" y="15469"/>
                    <a:pt x="51734" y="15469"/>
                  </a:cubicBezTo>
                  <a:cubicBezTo>
                    <a:pt x="71734" y="15469"/>
                    <a:pt x="88007" y="31734"/>
                    <a:pt x="88007" y="51734"/>
                  </a:cubicBezTo>
                  <a:cubicBezTo>
                    <a:pt x="88007" y="71744"/>
                    <a:pt x="71734" y="88007"/>
                    <a:pt x="51734" y="88007"/>
                  </a:cubicBezTo>
                  <a:close/>
                  <a:moveTo>
                    <a:pt x="51734" y="7006"/>
                  </a:moveTo>
                  <a:cubicBezTo>
                    <a:pt x="27062" y="7006"/>
                    <a:pt x="7006" y="27063"/>
                    <a:pt x="7006" y="51734"/>
                  </a:cubicBezTo>
                  <a:cubicBezTo>
                    <a:pt x="7006" y="76405"/>
                    <a:pt x="27062" y="96471"/>
                    <a:pt x="51734" y="96471"/>
                  </a:cubicBezTo>
                  <a:cubicBezTo>
                    <a:pt x="76405" y="96471"/>
                    <a:pt x="96471" y="76405"/>
                    <a:pt x="96471" y="51734"/>
                  </a:cubicBezTo>
                  <a:cubicBezTo>
                    <a:pt x="96471" y="27063"/>
                    <a:pt x="76405" y="7006"/>
                    <a:pt x="51734"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2" name="Freeform: Shape 21">
              <a:extLst>
                <a:ext uri="{FF2B5EF4-FFF2-40B4-BE49-F238E27FC236}">
                  <a16:creationId xmlns:a16="http://schemas.microsoft.com/office/drawing/2014/main" id="{2406F118-0906-4EE7-AE23-D19C8E2A2C08}"/>
                </a:ext>
              </a:extLst>
            </p:cNvPr>
            <p:cNvSpPr/>
            <p:nvPr/>
          </p:nvSpPr>
          <p:spPr bwMode="ltGray">
            <a:xfrm>
              <a:off x="4362823" y="4602044"/>
              <a:ext cx="103131" cy="103131"/>
            </a:xfrm>
            <a:custGeom>
              <a:avLst/>
              <a:gdLst>
                <a:gd name="connsiteX0" fmla="*/ 51743 w 103131"/>
                <a:gd name="connsiteY0" fmla="*/ 88007 h 103131"/>
                <a:gd name="connsiteX1" fmla="*/ 15470 w 103131"/>
                <a:gd name="connsiteY1" fmla="*/ 51734 h 103131"/>
                <a:gd name="connsiteX2" fmla="*/ 51743 w 103131"/>
                <a:gd name="connsiteY2" fmla="*/ 15469 h 103131"/>
                <a:gd name="connsiteX3" fmla="*/ 88017 w 103131"/>
                <a:gd name="connsiteY3" fmla="*/ 51734 h 103131"/>
                <a:gd name="connsiteX4" fmla="*/ 51743 w 103131"/>
                <a:gd name="connsiteY4" fmla="*/ 88007 h 103131"/>
                <a:gd name="connsiteX5" fmla="*/ 51743 w 103131"/>
                <a:gd name="connsiteY5" fmla="*/ 7006 h 103131"/>
                <a:gd name="connsiteX6" fmla="*/ 7006 w 103131"/>
                <a:gd name="connsiteY6" fmla="*/ 51734 h 103131"/>
                <a:gd name="connsiteX7" fmla="*/ 51743 w 103131"/>
                <a:gd name="connsiteY7" fmla="*/ 96471 h 103131"/>
                <a:gd name="connsiteX8" fmla="*/ 96480 w 103131"/>
                <a:gd name="connsiteY8" fmla="*/ 51734 h 103131"/>
                <a:gd name="connsiteX9" fmla="*/ 51743 w 103131"/>
                <a:gd name="connsiteY9" fmla="*/ 7006 h 10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131" h="103131">
                  <a:moveTo>
                    <a:pt x="51743" y="88007"/>
                  </a:moveTo>
                  <a:cubicBezTo>
                    <a:pt x="31743" y="88007"/>
                    <a:pt x="15470" y="71744"/>
                    <a:pt x="15470" y="51734"/>
                  </a:cubicBezTo>
                  <a:cubicBezTo>
                    <a:pt x="15470" y="31734"/>
                    <a:pt x="31743" y="15469"/>
                    <a:pt x="51743" y="15469"/>
                  </a:cubicBezTo>
                  <a:cubicBezTo>
                    <a:pt x="71744" y="15469"/>
                    <a:pt x="88017" y="31734"/>
                    <a:pt x="88017" y="51734"/>
                  </a:cubicBezTo>
                  <a:cubicBezTo>
                    <a:pt x="88017" y="71744"/>
                    <a:pt x="71744" y="88007"/>
                    <a:pt x="51743" y="88007"/>
                  </a:cubicBezTo>
                  <a:close/>
                  <a:moveTo>
                    <a:pt x="51743" y="7006"/>
                  </a:moveTo>
                  <a:cubicBezTo>
                    <a:pt x="27072" y="7006"/>
                    <a:pt x="7006" y="27063"/>
                    <a:pt x="7006" y="51734"/>
                  </a:cubicBezTo>
                  <a:cubicBezTo>
                    <a:pt x="7006" y="76405"/>
                    <a:pt x="27072" y="96471"/>
                    <a:pt x="51743" y="96471"/>
                  </a:cubicBezTo>
                  <a:cubicBezTo>
                    <a:pt x="76405" y="96471"/>
                    <a:pt x="96480" y="76405"/>
                    <a:pt x="96480" y="51734"/>
                  </a:cubicBezTo>
                  <a:cubicBezTo>
                    <a:pt x="96480" y="27063"/>
                    <a:pt x="76405" y="7006"/>
                    <a:pt x="51743"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3" name="Freeform: Shape 22">
              <a:extLst>
                <a:ext uri="{FF2B5EF4-FFF2-40B4-BE49-F238E27FC236}">
                  <a16:creationId xmlns:a16="http://schemas.microsoft.com/office/drawing/2014/main" id="{32DBD058-2DD8-479B-8476-DF4D1BBDF9FC}"/>
                </a:ext>
              </a:extLst>
            </p:cNvPr>
            <p:cNvSpPr/>
            <p:nvPr/>
          </p:nvSpPr>
          <p:spPr bwMode="ltGray">
            <a:xfrm>
              <a:off x="4823692" y="3926402"/>
              <a:ext cx="139003" cy="139003"/>
            </a:xfrm>
            <a:custGeom>
              <a:avLst/>
              <a:gdLst>
                <a:gd name="connsiteX0" fmla="*/ 69745 w 139003"/>
                <a:gd name="connsiteY0" fmla="*/ 98713 h 139003"/>
                <a:gd name="connsiteX1" fmla="*/ 40776 w 139003"/>
                <a:gd name="connsiteY1" fmla="*/ 69754 h 139003"/>
                <a:gd name="connsiteX2" fmla="*/ 69745 w 139003"/>
                <a:gd name="connsiteY2" fmla="*/ 40776 h 139003"/>
                <a:gd name="connsiteX3" fmla="*/ 98722 w 139003"/>
                <a:gd name="connsiteY3" fmla="*/ 69754 h 139003"/>
                <a:gd name="connsiteX4" fmla="*/ 69745 w 139003"/>
                <a:gd name="connsiteY4" fmla="*/ 98713 h 139003"/>
                <a:gd name="connsiteX5" fmla="*/ 69745 w 139003"/>
                <a:gd name="connsiteY5" fmla="*/ 7006 h 139003"/>
                <a:gd name="connsiteX6" fmla="*/ 7006 w 139003"/>
                <a:gd name="connsiteY6" fmla="*/ 69754 h 139003"/>
                <a:gd name="connsiteX7" fmla="*/ 69745 w 139003"/>
                <a:gd name="connsiteY7" fmla="*/ 132492 h 139003"/>
                <a:gd name="connsiteX8" fmla="*/ 132492 w 139003"/>
                <a:gd name="connsiteY8" fmla="*/ 69754 h 139003"/>
                <a:gd name="connsiteX9" fmla="*/ 69745 w 139003"/>
                <a:gd name="connsiteY9" fmla="*/ 7006 h 139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003" h="139003">
                  <a:moveTo>
                    <a:pt x="69745" y="98713"/>
                  </a:moveTo>
                  <a:cubicBezTo>
                    <a:pt x="53780" y="98713"/>
                    <a:pt x="40776" y="85728"/>
                    <a:pt x="40776" y="69754"/>
                  </a:cubicBezTo>
                  <a:cubicBezTo>
                    <a:pt x="40776" y="53770"/>
                    <a:pt x="53780" y="40776"/>
                    <a:pt x="69745" y="40776"/>
                  </a:cubicBezTo>
                  <a:cubicBezTo>
                    <a:pt x="85728" y="40776"/>
                    <a:pt x="98722" y="53770"/>
                    <a:pt x="98722" y="69754"/>
                  </a:cubicBezTo>
                  <a:cubicBezTo>
                    <a:pt x="98722" y="85728"/>
                    <a:pt x="85728" y="98713"/>
                    <a:pt x="69745" y="98713"/>
                  </a:cubicBezTo>
                  <a:close/>
                  <a:moveTo>
                    <a:pt x="69745" y="7006"/>
                  </a:moveTo>
                  <a:cubicBezTo>
                    <a:pt x="35153" y="7006"/>
                    <a:pt x="7006" y="35153"/>
                    <a:pt x="7006" y="69754"/>
                  </a:cubicBezTo>
                  <a:cubicBezTo>
                    <a:pt x="7006" y="104346"/>
                    <a:pt x="35153" y="132492"/>
                    <a:pt x="69745" y="132492"/>
                  </a:cubicBezTo>
                  <a:cubicBezTo>
                    <a:pt x="104346" y="132492"/>
                    <a:pt x="132492" y="104346"/>
                    <a:pt x="132492" y="69754"/>
                  </a:cubicBezTo>
                  <a:cubicBezTo>
                    <a:pt x="132492" y="35153"/>
                    <a:pt x="104346" y="7006"/>
                    <a:pt x="69745"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4" name="Freeform: Shape 23">
              <a:extLst>
                <a:ext uri="{FF2B5EF4-FFF2-40B4-BE49-F238E27FC236}">
                  <a16:creationId xmlns:a16="http://schemas.microsoft.com/office/drawing/2014/main" id="{07EFCF82-0DE3-494E-B6C4-F5C503F2625A}"/>
                </a:ext>
              </a:extLst>
            </p:cNvPr>
            <p:cNvSpPr/>
            <p:nvPr/>
          </p:nvSpPr>
          <p:spPr bwMode="ltGray">
            <a:xfrm>
              <a:off x="3096352" y="3707257"/>
              <a:ext cx="139003" cy="139003"/>
            </a:xfrm>
            <a:custGeom>
              <a:avLst/>
              <a:gdLst>
                <a:gd name="connsiteX0" fmla="*/ 69754 w 139003"/>
                <a:gd name="connsiteY0" fmla="*/ 98722 h 139003"/>
                <a:gd name="connsiteX1" fmla="*/ 40776 w 139003"/>
                <a:gd name="connsiteY1" fmla="*/ 69754 h 139003"/>
                <a:gd name="connsiteX2" fmla="*/ 69754 w 139003"/>
                <a:gd name="connsiteY2" fmla="*/ 40776 h 139003"/>
                <a:gd name="connsiteX3" fmla="*/ 98722 w 139003"/>
                <a:gd name="connsiteY3" fmla="*/ 69754 h 139003"/>
                <a:gd name="connsiteX4" fmla="*/ 69754 w 139003"/>
                <a:gd name="connsiteY4" fmla="*/ 98722 h 139003"/>
                <a:gd name="connsiteX5" fmla="*/ 69754 w 139003"/>
                <a:gd name="connsiteY5" fmla="*/ 7006 h 139003"/>
                <a:gd name="connsiteX6" fmla="*/ 7006 w 139003"/>
                <a:gd name="connsiteY6" fmla="*/ 69754 h 139003"/>
                <a:gd name="connsiteX7" fmla="*/ 69754 w 139003"/>
                <a:gd name="connsiteY7" fmla="*/ 132492 h 139003"/>
                <a:gd name="connsiteX8" fmla="*/ 132492 w 139003"/>
                <a:gd name="connsiteY8" fmla="*/ 69754 h 139003"/>
                <a:gd name="connsiteX9" fmla="*/ 69754 w 139003"/>
                <a:gd name="connsiteY9" fmla="*/ 7006 h 139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003" h="139003">
                  <a:moveTo>
                    <a:pt x="69754" y="98722"/>
                  </a:moveTo>
                  <a:cubicBezTo>
                    <a:pt x="53770" y="98722"/>
                    <a:pt x="40776" y="85728"/>
                    <a:pt x="40776" y="69754"/>
                  </a:cubicBezTo>
                  <a:cubicBezTo>
                    <a:pt x="40776" y="53780"/>
                    <a:pt x="53770" y="40776"/>
                    <a:pt x="69754" y="40776"/>
                  </a:cubicBezTo>
                  <a:cubicBezTo>
                    <a:pt x="85719" y="40776"/>
                    <a:pt x="98722" y="53780"/>
                    <a:pt x="98722" y="69754"/>
                  </a:cubicBezTo>
                  <a:cubicBezTo>
                    <a:pt x="98722" y="85728"/>
                    <a:pt x="85719" y="98722"/>
                    <a:pt x="69754" y="98722"/>
                  </a:cubicBezTo>
                  <a:close/>
                  <a:moveTo>
                    <a:pt x="69754" y="7006"/>
                  </a:moveTo>
                  <a:cubicBezTo>
                    <a:pt x="35153" y="7006"/>
                    <a:pt x="7006" y="35162"/>
                    <a:pt x="7006" y="69754"/>
                  </a:cubicBezTo>
                  <a:cubicBezTo>
                    <a:pt x="7006" y="104355"/>
                    <a:pt x="35153" y="132492"/>
                    <a:pt x="69754" y="132492"/>
                  </a:cubicBezTo>
                  <a:cubicBezTo>
                    <a:pt x="104346" y="132492"/>
                    <a:pt x="132492" y="104355"/>
                    <a:pt x="132492" y="69754"/>
                  </a:cubicBezTo>
                  <a:cubicBezTo>
                    <a:pt x="132492" y="35162"/>
                    <a:pt x="104346" y="7006"/>
                    <a:pt x="69754"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5" name="Freeform: Shape 24">
              <a:extLst>
                <a:ext uri="{FF2B5EF4-FFF2-40B4-BE49-F238E27FC236}">
                  <a16:creationId xmlns:a16="http://schemas.microsoft.com/office/drawing/2014/main" id="{6B7DB092-3462-4203-BDD4-69F5A54CE6A0}"/>
                </a:ext>
              </a:extLst>
            </p:cNvPr>
            <p:cNvSpPr/>
            <p:nvPr/>
          </p:nvSpPr>
          <p:spPr bwMode="ltGray">
            <a:xfrm>
              <a:off x="4671638" y="3627386"/>
              <a:ext cx="139003" cy="139003"/>
            </a:xfrm>
            <a:custGeom>
              <a:avLst/>
              <a:gdLst>
                <a:gd name="connsiteX0" fmla="*/ 69754 w 139003"/>
                <a:gd name="connsiteY0" fmla="*/ 98722 h 139003"/>
                <a:gd name="connsiteX1" fmla="*/ 40776 w 139003"/>
                <a:gd name="connsiteY1" fmla="*/ 69754 h 139003"/>
                <a:gd name="connsiteX2" fmla="*/ 69754 w 139003"/>
                <a:gd name="connsiteY2" fmla="*/ 40776 h 139003"/>
                <a:gd name="connsiteX3" fmla="*/ 98722 w 139003"/>
                <a:gd name="connsiteY3" fmla="*/ 69754 h 139003"/>
                <a:gd name="connsiteX4" fmla="*/ 69754 w 139003"/>
                <a:gd name="connsiteY4" fmla="*/ 98722 h 139003"/>
                <a:gd name="connsiteX5" fmla="*/ 69754 w 139003"/>
                <a:gd name="connsiteY5" fmla="*/ 7006 h 139003"/>
                <a:gd name="connsiteX6" fmla="*/ 7006 w 139003"/>
                <a:gd name="connsiteY6" fmla="*/ 69754 h 139003"/>
                <a:gd name="connsiteX7" fmla="*/ 69754 w 139003"/>
                <a:gd name="connsiteY7" fmla="*/ 132502 h 139003"/>
                <a:gd name="connsiteX8" fmla="*/ 132492 w 139003"/>
                <a:gd name="connsiteY8" fmla="*/ 69754 h 139003"/>
                <a:gd name="connsiteX9" fmla="*/ 69754 w 139003"/>
                <a:gd name="connsiteY9" fmla="*/ 7006 h 139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003" h="139003">
                  <a:moveTo>
                    <a:pt x="69754" y="98722"/>
                  </a:moveTo>
                  <a:cubicBezTo>
                    <a:pt x="53780" y="98722"/>
                    <a:pt x="40776" y="85728"/>
                    <a:pt x="40776" y="69754"/>
                  </a:cubicBezTo>
                  <a:cubicBezTo>
                    <a:pt x="40776" y="53780"/>
                    <a:pt x="53780" y="40776"/>
                    <a:pt x="69754" y="40776"/>
                  </a:cubicBezTo>
                  <a:cubicBezTo>
                    <a:pt x="85728" y="40776"/>
                    <a:pt x="98722" y="53780"/>
                    <a:pt x="98722" y="69754"/>
                  </a:cubicBezTo>
                  <a:cubicBezTo>
                    <a:pt x="98722" y="85728"/>
                    <a:pt x="85728" y="98722"/>
                    <a:pt x="69754" y="98722"/>
                  </a:cubicBezTo>
                  <a:close/>
                  <a:moveTo>
                    <a:pt x="69754" y="7006"/>
                  </a:moveTo>
                  <a:cubicBezTo>
                    <a:pt x="35153" y="7006"/>
                    <a:pt x="7006" y="35153"/>
                    <a:pt x="7006" y="69754"/>
                  </a:cubicBezTo>
                  <a:cubicBezTo>
                    <a:pt x="7006" y="104346"/>
                    <a:pt x="35153" y="132502"/>
                    <a:pt x="69754" y="132502"/>
                  </a:cubicBezTo>
                  <a:cubicBezTo>
                    <a:pt x="104346" y="132502"/>
                    <a:pt x="132492" y="104346"/>
                    <a:pt x="132492" y="69754"/>
                  </a:cubicBezTo>
                  <a:cubicBezTo>
                    <a:pt x="132492" y="35153"/>
                    <a:pt x="104346" y="7006"/>
                    <a:pt x="69754"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6" name="Freeform: Shape 25">
              <a:extLst>
                <a:ext uri="{FF2B5EF4-FFF2-40B4-BE49-F238E27FC236}">
                  <a16:creationId xmlns:a16="http://schemas.microsoft.com/office/drawing/2014/main" id="{CC1AF170-4BAF-47B6-A9A9-0C1C8EB336CD}"/>
                </a:ext>
              </a:extLst>
            </p:cNvPr>
            <p:cNvSpPr/>
            <p:nvPr/>
          </p:nvSpPr>
          <p:spPr bwMode="ltGray">
            <a:xfrm>
              <a:off x="4031943" y="2514202"/>
              <a:ext cx="105373" cy="105373"/>
            </a:xfrm>
            <a:custGeom>
              <a:avLst/>
              <a:gdLst>
                <a:gd name="connsiteX0" fmla="*/ 52864 w 105373"/>
                <a:gd name="connsiteY0" fmla="*/ 7006 h 105373"/>
                <a:gd name="connsiteX1" fmla="*/ 7006 w 105373"/>
                <a:gd name="connsiteY1" fmla="*/ 52874 h 105373"/>
                <a:gd name="connsiteX2" fmla="*/ 52864 w 105373"/>
                <a:gd name="connsiteY2" fmla="*/ 98722 h 105373"/>
                <a:gd name="connsiteX3" fmla="*/ 98722 w 105373"/>
                <a:gd name="connsiteY3" fmla="*/ 52874 h 105373"/>
                <a:gd name="connsiteX4" fmla="*/ 52864 w 105373"/>
                <a:gd name="connsiteY4" fmla="*/ 7006 h 10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73" h="105373">
                  <a:moveTo>
                    <a:pt x="52864" y="7006"/>
                  </a:moveTo>
                  <a:cubicBezTo>
                    <a:pt x="27539" y="7006"/>
                    <a:pt x="7006" y="27539"/>
                    <a:pt x="7006" y="52874"/>
                  </a:cubicBezTo>
                  <a:cubicBezTo>
                    <a:pt x="7006" y="78199"/>
                    <a:pt x="27539" y="98722"/>
                    <a:pt x="52864" y="98722"/>
                  </a:cubicBezTo>
                  <a:cubicBezTo>
                    <a:pt x="78189" y="98722"/>
                    <a:pt x="98722" y="78199"/>
                    <a:pt x="98722" y="52874"/>
                  </a:cubicBezTo>
                  <a:cubicBezTo>
                    <a:pt x="98722" y="27539"/>
                    <a:pt x="78189" y="7006"/>
                    <a:pt x="52864"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7" name="Freeform: Shape 26">
              <a:extLst>
                <a:ext uri="{FF2B5EF4-FFF2-40B4-BE49-F238E27FC236}">
                  <a16:creationId xmlns:a16="http://schemas.microsoft.com/office/drawing/2014/main" id="{6BBC800A-F131-4E6D-AA5E-A3DF9D46444A}"/>
                </a:ext>
              </a:extLst>
            </p:cNvPr>
            <p:cNvSpPr/>
            <p:nvPr/>
          </p:nvSpPr>
          <p:spPr bwMode="ltGray">
            <a:xfrm>
              <a:off x="3024160" y="4062510"/>
              <a:ext cx="105373" cy="105373"/>
            </a:xfrm>
            <a:custGeom>
              <a:avLst/>
              <a:gdLst>
                <a:gd name="connsiteX0" fmla="*/ 52864 w 105373"/>
                <a:gd name="connsiteY0" fmla="*/ 7006 h 105373"/>
                <a:gd name="connsiteX1" fmla="*/ 7006 w 105373"/>
                <a:gd name="connsiteY1" fmla="*/ 52864 h 105373"/>
                <a:gd name="connsiteX2" fmla="*/ 52864 w 105373"/>
                <a:gd name="connsiteY2" fmla="*/ 98732 h 105373"/>
                <a:gd name="connsiteX3" fmla="*/ 98722 w 105373"/>
                <a:gd name="connsiteY3" fmla="*/ 52864 h 105373"/>
                <a:gd name="connsiteX4" fmla="*/ 52864 w 105373"/>
                <a:gd name="connsiteY4" fmla="*/ 7006 h 10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73" h="105373">
                  <a:moveTo>
                    <a:pt x="52864" y="7006"/>
                  </a:moveTo>
                  <a:cubicBezTo>
                    <a:pt x="27539" y="7006"/>
                    <a:pt x="7006" y="27539"/>
                    <a:pt x="7006" y="52864"/>
                  </a:cubicBezTo>
                  <a:cubicBezTo>
                    <a:pt x="7006" y="78189"/>
                    <a:pt x="27539" y="98732"/>
                    <a:pt x="52864" y="98732"/>
                  </a:cubicBezTo>
                  <a:cubicBezTo>
                    <a:pt x="78189" y="98732"/>
                    <a:pt x="98722" y="78189"/>
                    <a:pt x="98722" y="52864"/>
                  </a:cubicBezTo>
                  <a:cubicBezTo>
                    <a:pt x="98722" y="27539"/>
                    <a:pt x="78189" y="7006"/>
                    <a:pt x="52864"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8" name="Freeform: Shape 27">
              <a:extLst>
                <a:ext uri="{FF2B5EF4-FFF2-40B4-BE49-F238E27FC236}">
                  <a16:creationId xmlns:a16="http://schemas.microsoft.com/office/drawing/2014/main" id="{C9678FFF-E84A-4EB4-9168-E6CCA4BC123C}"/>
                </a:ext>
              </a:extLst>
            </p:cNvPr>
            <p:cNvSpPr/>
            <p:nvPr/>
          </p:nvSpPr>
          <p:spPr bwMode="ltGray">
            <a:xfrm>
              <a:off x="1226814" y="3090337"/>
              <a:ext cx="105373" cy="105373"/>
            </a:xfrm>
            <a:custGeom>
              <a:avLst/>
              <a:gdLst>
                <a:gd name="connsiteX0" fmla="*/ 52855 w 105373"/>
                <a:gd name="connsiteY0" fmla="*/ 7006 h 105373"/>
                <a:gd name="connsiteX1" fmla="*/ 7006 w 105373"/>
                <a:gd name="connsiteY1" fmla="*/ 52864 h 105373"/>
                <a:gd name="connsiteX2" fmla="*/ 52855 w 105373"/>
                <a:gd name="connsiteY2" fmla="*/ 98722 h 105373"/>
                <a:gd name="connsiteX3" fmla="*/ 98713 w 105373"/>
                <a:gd name="connsiteY3" fmla="*/ 52864 h 105373"/>
                <a:gd name="connsiteX4" fmla="*/ 52855 w 105373"/>
                <a:gd name="connsiteY4" fmla="*/ 7006 h 10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73" h="105373">
                  <a:moveTo>
                    <a:pt x="52855" y="7006"/>
                  </a:moveTo>
                  <a:cubicBezTo>
                    <a:pt x="27530" y="7006"/>
                    <a:pt x="7006" y="27539"/>
                    <a:pt x="7006" y="52864"/>
                  </a:cubicBezTo>
                  <a:cubicBezTo>
                    <a:pt x="7006" y="78199"/>
                    <a:pt x="27530" y="98722"/>
                    <a:pt x="52855" y="98722"/>
                  </a:cubicBezTo>
                  <a:cubicBezTo>
                    <a:pt x="78189" y="98722"/>
                    <a:pt x="98713" y="78199"/>
                    <a:pt x="98713" y="52864"/>
                  </a:cubicBezTo>
                  <a:cubicBezTo>
                    <a:pt x="98713" y="27539"/>
                    <a:pt x="78189" y="7006"/>
                    <a:pt x="52855"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29" name="Freeform: Shape 28">
              <a:extLst>
                <a:ext uri="{FF2B5EF4-FFF2-40B4-BE49-F238E27FC236}">
                  <a16:creationId xmlns:a16="http://schemas.microsoft.com/office/drawing/2014/main" id="{88B40C65-3AB6-44AF-8EF9-15D4F35C3074}"/>
                </a:ext>
              </a:extLst>
            </p:cNvPr>
            <p:cNvSpPr/>
            <p:nvPr/>
          </p:nvSpPr>
          <p:spPr bwMode="ltGray">
            <a:xfrm>
              <a:off x="4050056" y="2825680"/>
              <a:ext cx="51566" cy="51566"/>
            </a:xfrm>
            <a:custGeom>
              <a:avLst/>
              <a:gdLst>
                <a:gd name="connsiteX0" fmla="*/ 26026 w 51565"/>
                <a:gd name="connsiteY0" fmla="*/ 7006 h 51565"/>
                <a:gd name="connsiteX1" fmla="*/ 7006 w 51565"/>
                <a:gd name="connsiteY1" fmla="*/ 26026 h 51565"/>
                <a:gd name="connsiteX2" fmla="*/ 26026 w 51565"/>
                <a:gd name="connsiteY2" fmla="*/ 45045 h 51565"/>
                <a:gd name="connsiteX3" fmla="*/ 45055 w 51565"/>
                <a:gd name="connsiteY3" fmla="*/ 26026 h 51565"/>
                <a:gd name="connsiteX4" fmla="*/ 26026 w 51565"/>
                <a:gd name="connsiteY4" fmla="*/ 7006 h 51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 h="51565">
                  <a:moveTo>
                    <a:pt x="26026" y="7006"/>
                  </a:moveTo>
                  <a:cubicBezTo>
                    <a:pt x="15526" y="7006"/>
                    <a:pt x="7006" y="15526"/>
                    <a:pt x="7006" y="26026"/>
                  </a:cubicBezTo>
                  <a:cubicBezTo>
                    <a:pt x="7006" y="36535"/>
                    <a:pt x="15526" y="45045"/>
                    <a:pt x="26026" y="45045"/>
                  </a:cubicBezTo>
                  <a:cubicBezTo>
                    <a:pt x="36535" y="45045"/>
                    <a:pt x="45055" y="36535"/>
                    <a:pt x="45055" y="26026"/>
                  </a:cubicBezTo>
                  <a:cubicBezTo>
                    <a:pt x="45055" y="15526"/>
                    <a:pt x="36535" y="7006"/>
                    <a:pt x="26026"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0" name="Freeform: Shape 29">
              <a:extLst>
                <a:ext uri="{FF2B5EF4-FFF2-40B4-BE49-F238E27FC236}">
                  <a16:creationId xmlns:a16="http://schemas.microsoft.com/office/drawing/2014/main" id="{F53C4B29-BFBF-4C57-9BAD-E794E72A7E02}"/>
                </a:ext>
              </a:extLst>
            </p:cNvPr>
            <p:cNvSpPr/>
            <p:nvPr/>
          </p:nvSpPr>
          <p:spPr bwMode="ltGray">
            <a:xfrm>
              <a:off x="4119913" y="2825680"/>
              <a:ext cx="51566" cy="51566"/>
            </a:xfrm>
            <a:custGeom>
              <a:avLst/>
              <a:gdLst>
                <a:gd name="connsiteX0" fmla="*/ 26026 w 51565"/>
                <a:gd name="connsiteY0" fmla="*/ 7006 h 51565"/>
                <a:gd name="connsiteX1" fmla="*/ 7006 w 51565"/>
                <a:gd name="connsiteY1" fmla="*/ 26026 h 51565"/>
                <a:gd name="connsiteX2" fmla="*/ 26026 w 51565"/>
                <a:gd name="connsiteY2" fmla="*/ 45045 h 51565"/>
                <a:gd name="connsiteX3" fmla="*/ 45045 w 51565"/>
                <a:gd name="connsiteY3" fmla="*/ 26026 h 51565"/>
                <a:gd name="connsiteX4" fmla="*/ 26026 w 51565"/>
                <a:gd name="connsiteY4" fmla="*/ 7006 h 51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 h="51565">
                  <a:moveTo>
                    <a:pt x="26026" y="7006"/>
                  </a:moveTo>
                  <a:cubicBezTo>
                    <a:pt x="15526" y="7006"/>
                    <a:pt x="7006" y="15526"/>
                    <a:pt x="7006" y="26026"/>
                  </a:cubicBezTo>
                  <a:cubicBezTo>
                    <a:pt x="7006" y="36535"/>
                    <a:pt x="15526" y="45045"/>
                    <a:pt x="26026" y="45045"/>
                  </a:cubicBezTo>
                  <a:cubicBezTo>
                    <a:pt x="36525" y="45045"/>
                    <a:pt x="45045" y="36535"/>
                    <a:pt x="45045" y="26026"/>
                  </a:cubicBezTo>
                  <a:cubicBezTo>
                    <a:pt x="45045" y="15526"/>
                    <a:pt x="36525" y="7006"/>
                    <a:pt x="26026"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1" name="Freeform: Shape 30">
              <a:extLst>
                <a:ext uri="{FF2B5EF4-FFF2-40B4-BE49-F238E27FC236}">
                  <a16:creationId xmlns:a16="http://schemas.microsoft.com/office/drawing/2014/main" id="{4973ABA9-EC24-4835-A568-085E871D0F43}"/>
                </a:ext>
              </a:extLst>
            </p:cNvPr>
            <p:cNvSpPr/>
            <p:nvPr/>
          </p:nvSpPr>
          <p:spPr bwMode="ltGray">
            <a:xfrm>
              <a:off x="4189770" y="2825680"/>
              <a:ext cx="51566" cy="51566"/>
            </a:xfrm>
            <a:custGeom>
              <a:avLst/>
              <a:gdLst>
                <a:gd name="connsiteX0" fmla="*/ 26026 w 51565"/>
                <a:gd name="connsiteY0" fmla="*/ 7006 h 51565"/>
                <a:gd name="connsiteX1" fmla="*/ 7006 w 51565"/>
                <a:gd name="connsiteY1" fmla="*/ 26026 h 51565"/>
                <a:gd name="connsiteX2" fmla="*/ 26026 w 51565"/>
                <a:gd name="connsiteY2" fmla="*/ 45045 h 51565"/>
                <a:gd name="connsiteX3" fmla="*/ 45045 w 51565"/>
                <a:gd name="connsiteY3" fmla="*/ 26026 h 51565"/>
                <a:gd name="connsiteX4" fmla="*/ 26026 w 51565"/>
                <a:gd name="connsiteY4" fmla="*/ 7006 h 51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 h="51565">
                  <a:moveTo>
                    <a:pt x="26026" y="7006"/>
                  </a:moveTo>
                  <a:cubicBezTo>
                    <a:pt x="15516" y="7006"/>
                    <a:pt x="7006" y="15526"/>
                    <a:pt x="7006" y="26026"/>
                  </a:cubicBezTo>
                  <a:cubicBezTo>
                    <a:pt x="7006" y="36535"/>
                    <a:pt x="15516" y="45045"/>
                    <a:pt x="26026" y="45045"/>
                  </a:cubicBezTo>
                  <a:cubicBezTo>
                    <a:pt x="36525" y="45045"/>
                    <a:pt x="45045" y="36535"/>
                    <a:pt x="45045" y="26026"/>
                  </a:cubicBezTo>
                  <a:cubicBezTo>
                    <a:pt x="45045" y="15526"/>
                    <a:pt x="36525" y="7006"/>
                    <a:pt x="26026"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2" name="Freeform: Shape 31">
              <a:extLst>
                <a:ext uri="{FF2B5EF4-FFF2-40B4-BE49-F238E27FC236}">
                  <a16:creationId xmlns:a16="http://schemas.microsoft.com/office/drawing/2014/main" id="{5EDCFE26-54B0-474A-BEB1-3424B6CCA597}"/>
                </a:ext>
              </a:extLst>
            </p:cNvPr>
            <p:cNvSpPr/>
            <p:nvPr/>
          </p:nvSpPr>
          <p:spPr bwMode="ltGray">
            <a:xfrm>
              <a:off x="4259626" y="2825680"/>
              <a:ext cx="51566" cy="51566"/>
            </a:xfrm>
            <a:custGeom>
              <a:avLst/>
              <a:gdLst>
                <a:gd name="connsiteX0" fmla="*/ 26026 w 51565"/>
                <a:gd name="connsiteY0" fmla="*/ 7006 h 51565"/>
                <a:gd name="connsiteX1" fmla="*/ 7006 w 51565"/>
                <a:gd name="connsiteY1" fmla="*/ 26026 h 51565"/>
                <a:gd name="connsiteX2" fmla="*/ 26026 w 51565"/>
                <a:gd name="connsiteY2" fmla="*/ 45045 h 51565"/>
                <a:gd name="connsiteX3" fmla="*/ 45045 w 51565"/>
                <a:gd name="connsiteY3" fmla="*/ 26026 h 51565"/>
                <a:gd name="connsiteX4" fmla="*/ 26026 w 51565"/>
                <a:gd name="connsiteY4" fmla="*/ 7006 h 51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 h="51565">
                  <a:moveTo>
                    <a:pt x="26026" y="7006"/>
                  </a:moveTo>
                  <a:cubicBezTo>
                    <a:pt x="15516" y="7006"/>
                    <a:pt x="7006" y="15526"/>
                    <a:pt x="7006" y="26026"/>
                  </a:cubicBezTo>
                  <a:cubicBezTo>
                    <a:pt x="7006" y="36535"/>
                    <a:pt x="15516" y="45045"/>
                    <a:pt x="26026" y="45045"/>
                  </a:cubicBezTo>
                  <a:cubicBezTo>
                    <a:pt x="36526" y="45045"/>
                    <a:pt x="45045" y="36535"/>
                    <a:pt x="45045" y="26026"/>
                  </a:cubicBezTo>
                  <a:cubicBezTo>
                    <a:pt x="45045" y="15526"/>
                    <a:pt x="36526" y="7006"/>
                    <a:pt x="26026"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3" name="Freeform: Shape 32">
              <a:extLst>
                <a:ext uri="{FF2B5EF4-FFF2-40B4-BE49-F238E27FC236}">
                  <a16:creationId xmlns:a16="http://schemas.microsoft.com/office/drawing/2014/main" id="{642CA324-E0CC-4FF6-AC6E-C77193757160}"/>
                </a:ext>
              </a:extLst>
            </p:cNvPr>
            <p:cNvSpPr/>
            <p:nvPr/>
          </p:nvSpPr>
          <p:spPr bwMode="ltGray">
            <a:xfrm>
              <a:off x="2972968" y="2132924"/>
              <a:ext cx="91921" cy="91921"/>
            </a:xfrm>
            <a:custGeom>
              <a:avLst/>
              <a:gdLst>
                <a:gd name="connsiteX0" fmla="*/ 46530 w 91921"/>
                <a:gd name="connsiteY0" fmla="*/ 7006 h 91921"/>
                <a:gd name="connsiteX1" fmla="*/ 7006 w 91921"/>
                <a:gd name="connsiteY1" fmla="*/ 46531 h 91921"/>
                <a:gd name="connsiteX2" fmla="*/ 46530 w 91921"/>
                <a:gd name="connsiteY2" fmla="*/ 86055 h 91921"/>
                <a:gd name="connsiteX3" fmla="*/ 86055 w 91921"/>
                <a:gd name="connsiteY3" fmla="*/ 46531 h 91921"/>
                <a:gd name="connsiteX4" fmla="*/ 46530 w 91921"/>
                <a:gd name="connsiteY4" fmla="*/ 7006 h 91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21" h="91921">
                  <a:moveTo>
                    <a:pt x="46530" y="7006"/>
                  </a:moveTo>
                  <a:cubicBezTo>
                    <a:pt x="24699" y="7006"/>
                    <a:pt x="7006" y="24699"/>
                    <a:pt x="7006" y="46531"/>
                  </a:cubicBezTo>
                  <a:cubicBezTo>
                    <a:pt x="7006" y="68362"/>
                    <a:pt x="24699" y="86055"/>
                    <a:pt x="46530" y="86055"/>
                  </a:cubicBezTo>
                  <a:cubicBezTo>
                    <a:pt x="68362" y="86055"/>
                    <a:pt x="86055" y="68362"/>
                    <a:pt x="86055" y="46531"/>
                  </a:cubicBezTo>
                  <a:cubicBezTo>
                    <a:pt x="86055" y="24699"/>
                    <a:pt x="68362" y="7006"/>
                    <a:pt x="46530"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4" name="Freeform: Shape 33">
              <a:extLst>
                <a:ext uri="{FF2B5EF4-FFF2-40B4-BE49-F238E27FC236}">
                  <a16:creationId xmlns:a16="http://schemas.microsoft.com/office/drawing/2014/main" id="{62FB3B55-544F-4D6B-8900-926539DB08DE}"/>
                </a:ext>
              </a:extLst>
            </p:cNvPr>
            <p:cNvSpPr/>
            <p:nvPr/>
          </p:nvSpPr>
          <p:spPr bwMode="ltGray">
            <a:xfrm>
              <a:off x="4867420" y="3970130"/>
              <a:ext cx="51566" cy="51566"/>
            </a:xfrm>
            <a:custGeom>
              <a:avLst/>
              <a:gdLst>
                <a:gd name="connsiteX0" fmla="*/ 26016 w 51565"/>
                <a:gd name="connsiteY0" fmla="*/ 7006 h 51565"/>
                <a:gd name="connsiteX1" fmla="*/ 7006 w 51565"/>
                <a:gd name="connsiteY1" fmla="*/ 26026 h 51565"/>
                <a:gd name="connsiteX2" fmla="*/ 26016 w 51565"/>
                <a:gd name="connsiteY2" fmla="*/ 45036 h 51565"/>
                <a:gd name="connsiteX3" fmla="*/ 45036 w 51565"/>
                <a:gd name="connsiteY3" fmla="*/ 26026 h 51565"/>
                <a:gd name="connsiteX4" fmla="*/ 26016 w 51565"/>
                <a:gd name="connsiteY4" fmla="*/ 7006 h 51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 h="51565">
                  <a:moveTo>
                    <a:pt x="26016" y="7006"/>
                  </a:moveTo>
                  <a:cubicBezTo>
                    <a:pt x="15507" y="7006"/>
                    <a:pt x="7006" y="15517"/>
                    <a:pt x="7006" y="26026"/>
                  </a:cubicBezTo>
                  <a:cubicBezTo>
                    <a:pt x="7006" y="36526"/>
                    <a:pt x="15507" y="45036"/>
                    <a:pt x="26016" y="45036"/>
                  </a:cubicBezTo>
                  <a:cubicBezTo>
                    <a:pt x="36525" y="45036"/>
                    <a:pt x="45036" y="36526"/>
                    <a:pt x="45036" y="26026"/>
                  </a:cubicBezTo>
                  <a:cubicBezTo>
                    <a:pt x="45036" y="15517"/>
                    <a:pt x="36525" y="7006"/>
                    <a:pt x="26016"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5" name="Freeform: Shape 34">
              <a:extLst>
                <a:ext uri="{FF2B5EF4-FFF2-40B4-BE49-F238E27FC236}">
                  <a16:creationId xmlns:a16="http://schemas.microsoft.com/office/drawing/2014/main" id="{D5E99F44-E0B9-4985-9ABA-5305F83CCC7C}"/>
                </a:ext>
              </a:extLst>
            </p:cNvPr>
            <p:cNvSpPr/>
            <p:nvPr/>
          </p:nvSpPr>
          <p:spPr bwMode="ltGray">
            <a:xfrm>
              <a:off x="3001908" y="3612823"/>
              <a:ext cx="327330" cy="327330"/>
            </a:xfrm>
            <a:custGeom>
              <a:avLst/>
              <a:gdLst>
                <a:gd name="connsiteX0" fmla="*/ 164188 w 327329"/>
                <a:gd name="connsiteY0" fmla="*/ 276344 h 327330"/>
                <a:gd name="connsiteX1" fmla="*/ 52033 w 327329"/>
                <a:gd name="connsiteY1" fmla="*/ 164188 h 327330"/>
                <a:gd name="connsiteX2" fmla="*/ 164188 w 327329"/>
                <a:gd name="connsiteY2" fmla="*/ 52023 h 327330"/>
                <a:gd name="connsiteX3" fmla="*/ 276363 w 327329"/>
                <a:gd name="connsiteY3" fmla="*/ 164188 h 327330"/>
                <a:gd name="connsiteX4" fmla="*/ 164188 w 327329"/>
                <a:gd name="connsiteY4" fmla="*/ 276344 h 327330"/>
                <a:gd name="connsiteX5" fmla="*/ 164188 w 327329"/>
                <a:gd name="connsiteY5" fmla="*/ 7006 h 327330"/>
                <a:gd name="connsiteX6" fmla="*/ 7006 w 327329"/>
                <a:gd name="connsiteY6" fmla="*/ 164188 h 327330"/>
                <a:gd name="connsiteX7" fmla="*/ 164188 w 327329"/>
                <a:gd name="connsiteY7" fmla="*/ 321380 h 327330"/>
                <a:gd name="connsiteX8" fmla="*/ 321380 w 327329"/>
                <a:gd name="connsiteY8" fmla="*/ 164188 h 327330"/>
                <a:gd name="connsiteX9" fmla="*/ 164188 w 327329"/>
                <a:gd name="connsiteY9" fmla="*/ 7006 h 327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7329" h="327330">
                  <a:moveTo>
                    <a:pt x="164188" y="276344"/>
                  </a:moveTo>
                  <a:cubicBezTo>
                    <a:pt x="102347" y="276344"/>
                    <a:pt x="52033" y="226039"/>
                    <a:pt x="52033" y="164188"/>
                  </a:cubicBezTo>
                  <a:cubicBezTo>
                    <a:pt x="52033" y="102328"/>
                    <a:pt x="102347" y="52023"/>
                    <a:pt x="164188" y="52023"/>
                  </a:cubicBezTo>
                  <a:cubicBezTo>
                    <a:pt x="226039" y="52023"/>
                    <a:pt x="276363" y="102328"/>
                    <a:pt x="276363" y="164188"/>
                  </a:cubicBezTo>
                  <a:cubicBezTo>
                    <a:pt x="276363" y="226039"/>
                    <a:pt x="226039" y="276344"/>
                    <a:pt x="164188" y="276344"/>
                  </a:cubicBezTo>
                  <a:close/>
                  <a:moveTo>
                    <a:pt x="164188" y="7006"/>
                  </a:moveTo>
                  <a:cubicBezTo>
                    <a:pt x="77517" y="7006"/>
                    <a:pt x="7006" y="77507"/>
                    <a:pt x="7006" y="164188"/>
                  </a:cubicBezTo>
                  <a:cubicBezTo>
                    <a:pt x="7006" y="250860"/>
                    <a:pt x="77517" y="321380"/>
                    <a:pt x="164188" y="321380"/>
                  </a:cubicBezTo>
                  <a:cubicBezTo>
                    <a:pt x="250869" y="321380"/>
                    <a:pt x="321380" y="250860"/>
                    <a:pt x="321380" y="164188"/>
                  </a:cubicBezTo>
                  <a:cubicBezTo>
                    <a:pt x="321380" y="77507"/>
                    <a:pt x="250869" y="7006"/>
                    <a:pt x="164188"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6" name="Freeform: Shape 35">
              <a:extLst>
                <a:ext uri="{FF2B5EF4-FFF2-40B4-BE49-F238E27FC236}">
                  <a16:creationId xmlns:a16="http://schemas.microsoft.com/office/drawing/2014/main" id="{5753186D-161F-4B19-ABCD-67CF7BE6EA85}"/>
                </a:ext>
              </a:extLst>
            </p:cNvPr>
            <p:cNvSpPr/>
            <p:nvPr/>
          </p:nvSpPr>
          <p:spPr bwMode="ltGray">
            <a:xfrm>
              <a:off x="-2860" y="3221344"/>
              <a:ext cx="1582842" cy="282490"/>
            </a:xfrm>
            <a:custGeom>
              <a:avLst/>
              <a:gdLst>
                <a:gd name="connsiteX0" fmla="*/ 919785 w 1582842"/>
                <a:gd name="connsiteY0" fmla="*/ 221303 h 282490"/>
                <a:gd name="connsiteX1" fmla="*/ 7006 w 1582842"/>
                <a:gd name="connsiteY1" fmla="*/ 221303 h 282490"/>
                <a:gd name="connsiteX2" fmla="*/ 7006 w 1582842"/>
                <a:gd name="connsiteY2" fmla="*/ 277577 h 282490"/>
                <a:gd name="connsiteX3" fmla="*/ 943102 w 1582842"/>
                <a:gd name="connsiteY3" fmla="*/ 277577 h 282490"/>
                <a:gd name="connsiteX4" fmla="*/ 1157398 w 1582842"/>
                <a:gd name="connsiteY4" fmla="*/ 63290 h 282490"/>
                <a:gd name="connsiteX5" fmla="*/ 1576772 w 1582842"/>
                <a:gd name="connsiteY5" fmla="*/ 63290 h 282490"/>
                <a:gd name="connsiteX6" fmla="*/ 1576772 w 1582842"/>
                <a:gd name="connsiteY6" fmla="*/ 7006 h 282490"/>
                <a:gd name="connsiteX7" fmla="*/ 1134082 w 1582842"/>
                <a:gd name="connsiteY7" fmla="*/ 7006 h 282490"/>
                <a:gd name="connsiteX8" fmla="*/ 919785 w 1582842"/>
                <a:gd name="connsiteY8" fmla="*/ 221303 h 282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2842" h="282490">
                  <a:moveTo>
                    <a:pt x="919785" y="221303"/>
                  </a:moveTo>
                  <a:lnTo>
                    <a:pt x="7006" y="221303"/>
                  </a:lnTo>
                  <a:lnTo>
                    <a:pt x="7006" y="277577"/>
                  </a:lnTo>
                  <a:lnTo>
                    <a:pt x="943102" y="277577"/>
                  </a:lnTo>
                  <a:lnTo>
                    <a:pt x="1157398" y="63290"/>
                  </a:lnTo>
                  <a:lnTo>
                    <a:pt x="1576772" y="63290"/>
                  </a:lnTo>
                  <a:lnTo>
                    <a:pt x="1576772" y="7006"/>
                  </a:lnTo>
                  <a:lnTo>
                    <a:pt x="1134082" y="7006"/>
                  </a:lnTo>
                  <a:lnTo>
                    <a:pt x="919785" y="22130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7" name="Freeform: Shape 36">
              <a:extLst>
                <a:ext uri="{FF2B5EF4-FFF2-40B4-BE49-F238E27FC236}">
                  <a16:creationId xmlns:a16="http://schemas.microsoft.com/office/drawing/2014/main" id="{F8754947-1405-4D8B-B51B-C742C1A2EA26}"/>
                </a:ext>
              </a:extLst>
            </p:cNvPr>
            <p:cNvSpPr/>
            <p:nvPr/>
          </p:nvSpPr>
          <p:spPr bwMode="ltGray">
            <a:xfrm>
              <a:off x="2732225" y="2629692"/>
              <a:ext cx="993200" cy="313878"/>
            </a:xfrm>
            <a:custGeom>
              <a:avLst/>
              <a:gdLst>
                <a:gd name="connsiteX0" fmla="*/ 383660 w 993199"/>
                <a:gd name="connsiteY0" fmla="*/ 252728 h 313878"/>
                <a:gd name="connsiteX1" fmla="*/ 7006 w 993199"/>
                <a:gd name="connsiteY1" fmla="*/ 252728 h 313878"/>
                <a:gd name="connsiteX2" fmla="*/ 7006 w 993199"/>
                <a:gd name="connsiteY2" fmla="*/ 309002 h 313878"/>
                <a:gd name="connsiteX3" fmla="*/ 406977 w 993199"/>
                <a:gd name="connsiteY3" fmla="*/ 309002 h 313878"/>
                <a:gd name="connsiteX4" fmla="*/ 652699 w 993199"/>
                <a:gd name="connsiteY4" fmla="*/ 63280 h 313878"/>
                <a:gd name="connsiteX5" fmla="*/ 986232 w 993199"/>
                <a:gd name="connsiteY5" fmla="*/ 63280 h 313878"/>
                <a:gd name="connsiteX6" fmla="*/ 986232 w 993199"/>
                <a:gd name="connsiteY6" fmla="*/ 7006 h 313878"/>
                <a:gd name="connsiteX7" fmla="*/ 629382 w 993199"/>
                <a:gd name="connsiteY7" fmla="*/ 7006 h 313878"/>
                <a:gd name="connsiteX8" fmla="*/ 383660 w 993199"/>
                <a:gd name="connsiteY8" fmla="*/ 252728 h 313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3199" h="313878">
                  <a:moveTo>
                    <a:pt x="383660" y="252728"/>
                  </a:moveTo>
                  <a:lnTo>
                    <a:pt x="7006" y="252728"/>
                  </a:lnTo>
                  <a:lnTo>
                    <a:pt x="7006" y="309002"/>
                  </a:lnTo>
                  <a:lnTo>
                    <a:pt x="406977" y="309002"/>
                  </a:lnTo>
                  <a:lnTo>
                    <a:pt x="652699" y="63280"/>
                  </a:lnTo>
                  <a:lnTo>
                    <a:pt x="986232" y="63280"/>
                  </a:lnTo>
                  <a:lnTo>
                    <a:pt x="986232" y="7006"/>
                  </a:lnTo>
                  <a:lnTo>
                    <a:pt x="629382" y="7006"/>
                  </a:lnTo>
                  <a:lnTo>
                    <a:pt x="383660" y="25272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8" name="Freeform: Shape 37">
              <a:extLst>
                <a:ext uri="{FF2B5EF4-FFF2-40B4-BE49-F238E27FC236}">
                  <a16:creationId xmlns:a16="http://schemas.microsoft.com/office/drawing/2014/main" id="{E98F9772-98FC-4DA4-927F-00C435CC5042}"/>
                </a:ext>
              </a:extLst>
            </p:cNvPr>
            <p:cNvSpPr/>
            <p:nvPr/>
          </p:nvSpPr>
          <p:spPr bwMode="ltGray">
            <a:xfrm>
              <a:off x="576311" y="3207275"/>
              <a:ext cx="417009" cy="40356"/>
            </a:xfrm>
            <a:custGeom>
              <a:avLst/>
              <a:gdLst>
                <a:gd name="connsiteX0" fmla="*/ 7006 w 417009"/>
                <a:gd name="connsiteY0" fmla="*/ 7006 h 40355"/>
                <a:gd name="connsiteX1" fmla="*/ 412199 w 417009"/>
                <a:gd name="connsiteY1" fmla="*/ 7006 h 40355"/>
                <a:gd name="connsiteX2" fmla="*/ 412199 w 417009"/>
                <a:gd name="connsiteY2" fmla="*/ 35143 h 40355"/>
                <a:gd name="connsiteX3" fmla="*/ 7006 w 417009"/>
                <a:gd name="connsiteY3" fmla="*/ 35143 h 40355"/>
              </a:gdLst>
              <a:ahLst/>
              <a:cxnLst>
                <a:cxn ang="0">
                  <a:pos x="connsiteX0" y="connsiteY0"/>
                </a:cxn>
                <a:cxn ang="0">
                  <a:pos x="connsiteX1" y="connsiteY1"/>
                </a:cxn>
                <a:cxn ang="0">
                  <a:pos x="connsiteX2" y="connsiteY2"/>
                </a:cxn>
                <a:cxn ang="0">
                  <a:pos x="connsiteX3" y="connsiteY3"/>
                </a:cxn>
              </a:cxnLst>
              <a:rect l="l" t="t" r="r" b="b"/>
              <a:pathLst>
                <a:path w="417009" h="40355">
                  <a:moveTo>
                    <a:pt x="7006" y="7006"/>
                  </a:moveTo>
                  <a:lnTo>
                    <a:pt x="412199" y="7006"/>
                  </a:lnTo>
                  <a:lnTo>
                    <a:pt x="412199" y="35143"/>
                  </a:lnTo>
                  <a:lnTo>
                    <a:pt x="7006" y="3514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39" name="Freeform: Shape 38">
              <a:extLst>
                <a:ext uri="{FF2B5EF4-FFF2-40B4-BE49-F238E27FC236}">
                  <a16:creationId xmlns:a16="http://schemas.microsoft.com/office/drawing/2014/main" id="{86D2285C-00B2-4A26-825C-6E21F4611605}"/>
                </a:ext>
              </a:extLst>
            </p:cNvPr>
            <p:cNvSpPr/>
            <p:nvPr/>
          </p:nvSpPr>
          <p:spPr bwMode="ltGray">
            <a:xfrm>
              <a:off x="992209" y="2601630"/>
              <a:ext cx="309394" cy="309394"/>
            </a:xfrm>
            <a:custGeom>
              <a:avLst/>
              <a:gdLst>
                <a:gd name="connsiteX0" fmla="*/ 155753 w 309394"/>
                <a:gd name="connsiteY0" fmla="*/ 276353 h 309394"/>
                <a:gd name="connsiteX1" fmla="*/ 35143 w 309394"/>
                <a:gd name="connsiteY1" fmla="*/ 155753 h 309394"/>
                <a:gd name="connsiteX2" fmla="*/ 155753 w 309394"/>
                <a:gd name="connsiteY2" fmla="*/ 35143 h 309394"/>
                <a:gd name="connsiteX3" fmla="*/ 276353 w 309394"/>
                <a:gd name="connsiteY3" fmla="*/ 155753 h 309394"/>
                <a:gd name="connsiteX4" fmla="*/ 155753 w 309394"/>
                <a:gd name="connsiteY4" fmla="*/ 276353 h 309394"/>
                <a:gd name="connsiteX5" fmla="*/ 155753 w 309394"/>
                <a:gd name="connsiteY5" fmla="*/ 7006 h 309394"/>
                <a:gd name="connsiteX6" fmla="*/ 7006 w 309394"/>
                <a:gd name="connsiteY6" fmla="*/ 155753 h 309394"/>
                <a:gd name="connsiteX7" fmla="*/ 155753 w 309394"/>
                <a:gd name="connsiteY7" fmla="*/ 304490 h 309394"/>
                <a:gd name="connsiteX8" fmla="*/ 304490 w 309394"/>
                <a:gd name="connsiteY8" fmla="*/ 155753 h 309394"/>
                <a:gd name="connsiteX9" fmla="*/ 155753 w 309394"/>
                <a:gd name="connsiteY9" fmla="*/ 7006 h 30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9394" h="309394">
                  <a:moveTo>
                    <a:pt x="155753" y="276353"/>
                  </a:moveTo>
                  <a:cubicBezTo>
                    <a:pt x="89250" y="276353"/>
                    <a:pt x="35143" y="222256"/>
                    <a:pt x="35143" y="155753"/>
                  </a:cubicBezTo>
                  <a:cubicBezTo>
                    <a:pt x="35143" y="89250"/>
                    <a:pt x="89250" y="35143"/>
                    <a:pt x="155753" y="35143"/>
                  </a:cubicBezTo>
                  <a:cubicBezTo>
                    <a:pt x="222246" y="35143"/>
                    <a:pt x="276353" y="89250"/>
                    <a:pt x="276353" y="155753"/>
                  </a:cubicBezTo>
                  <a:cubicBezTo>
                    <a:pt x="276353" y="222256"/>
                    <a:pt x="222246" y="276353"/>
                    <a:pt x="155753" y="276353"/>
                  </a:cubicBezTo>
                  <a:close/>
                  <a:moveTo>
                    <a:pt x="155753" y="7006"/>
                  </a:moveTo>
                  <a:cubicBezTo>
                    <a:pt x="73733" y="7006"/>
                    <a:pt x="7006" y="73733"/>
                    <a:pt x="7006" y="155753"/>
                  </a:cubicBezTo>
                  <a:cubicBezTo>
                    <a:pt x="7006" y="237772"/>
                    <a:pt x="73733" y="304490"/>
                    <a:pt x="155753" y="304490"/>
                  </a:cubicBezTo>
                  <a:cubicBezTo>
                    <a:pt x="237763" y="304490"/>
                    <a:pt x="304490" y="237772"/>
                    <a:pt x="304490" y="155753"/>
                  </a:cubicBezTo>
                  <a:cubicBezTo>
                    <a:pt x="304490" y="73733"/>
                    <a:pt x="237763" y="7006"/>
                    <a:pt x="155753"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0" name="Freeform: Shape 39">
              <a:extLst>
                <a:ext uri="{FF2B5EF4-FFF2-40B4-BE49-F238E27FC236}">
                  <a16:creationId xmlns:a16="http://schemas.microsoft.com/office/drawing/2014/main" id="{B2539A9C-8F73-4643-902E-82429D6C2BDB}"/>
                </a:ext>
              </a:extLst>
            </p:cNvPr>
            <p:cNvSpPr/>
            <p:nvPr/>
          </p:nvSpPr>
          <p:spPr bwMode="ltGray">
            <a:xfrm>
              <a:off x="5378350" y="2456994"/>
              <a:ext cx="136761" cy="136761"/>
            </a:xfrm>
            <a:custGeom>
              <a:avLst/>
              <a:gdLst>
                <a:gd name="connsiteX0" fmla="*/ 68922 w 136761"/>
                <a:gd name="connsiteY0" fmla="*/ 119124 h 136761"/>
                <a:gd name="connsiteX1" fmla="*/ 18721 w 136761"/>
                <a:gd name="connsiteY1" fmla="*/ 68922 h 136761"/>
                <a:gd name="connsiteX2" fmla="*/ 68922 w 136761"/>
                <a:gd name="connsiteY2" fmla="*/ 18721 h 136761"/>
                <a:gd name="connsiteX3" fmla="*/ 119124 w 136761"/>
                <a:gd name="connsiteY3" fmla="*/ 68922 h 136761"/>
                <a:gd name="connsiteX4" fmla="*/ 68922 w 136761"/>
                <a:gd name="connsiteY4" fmla="*/ 119124 h 136761"/>
                <a:gd name="connsiteX5" fmla="*/ 68922 w 136761"/>
                <a:gd name="connsiteY5" fmla="*/ 7006 h 136761"/>
                <a:gd name="connsiteX6" fmla="*/ 7006 w 136761"/>
                <a:gd name="connsiteY6" fmla="*/ 68922 h 136761"/>
                <a:gd name="connsiteX7" fmla="*/ 68922 w 136761"/>
                <a:gd name="connsiteY7" fmla="*/ 130839 h 136761"/>
                <a:gd name="connsiteX8" fmla="*/ 130839 w 136761"/>
                <a:gd name="connsiteY8" fmla="*/ 68922 h 136761"/>
                <a:gd name="connsiteX9" fmla="*/ 68922 w 136761"/>
                <a:gd name="connsiteY9" fmla="*/ 7006 h 13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761" h="136761">
                  <a:moveTo>
                    <a:pt x="68922" y="119124"/>
                  </a:moveTo>
                  <a:cubicBezTo>
                    <a:pt x="41243" y="119124"/>
                    <a:pt x="18721" y="96602"/>
                    <a:pt x="18721" y="68922"/>
                  </a:cubicBezTo>
                  <a:cubicBezTo>
                    <a:pt x="18721" y="41243"/>
                    <a:pt x="41243" y="18721"/>
                    <a:pt x="68922" y="18721"/>
                  </a:cubicBezTo>
                  <a:cubicBezTo>
                    <a:pt x="96602" y="18721"/>
                    <a:pt x="119124" y="41243"/>
                    <a:pt x="119124" y="68922"/>
                  </a:cubicBezTo>
                  <a:cubicBezTo>
                    <a:pt x="119124" y="96602"/>
                    <a:pt x="96602" y="119124"/>
                    <a:pt x="68922" y="119124"/>
                  </a:cubicBezTo>
                  <a:close/>
                  <a:moveTo>
                    <a:pt x="68922" y="7006"/>
                  </a:moveTo>
                  <a:cubicBezTo>
                    <a:pt x="34788" y="7006"/>
                    <a:pt x="7006" y="34779"/>
                    <a:pt x="7006" y="68922"/>
                  </a:cubicBezTo>
                  <a:cubicBezTo>
                    <a:pt x="7006" y="103066"/>
                    <a:pt x="34788" y="130839"/>
                    <a:pt x="68922" y="130839"/>
                  </a:cubicBezTo>
                  <a:cubicBezTo>
                    <a:pt x="103066" y="130839"/>
                    <a:pt x="130839" y="103066"/>
                    <a:pt x="130839" y="68922"/>
                  </a:cubicBezTo>
                  <a:cubicBezTo>
                    <a:pt x="130839" y="34779"/>
                    <a:pt x="103066" y="7006"/>
                    <a:pt x="68922"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1" name="Freeform: Shape 40">
              <a:extLst>
                <a:ext uri="{FF2B5EF4-FFF2-40B4-BE49-F238E27FC236}">
                  <a16:creationId xmlns:a16="http://schemas.microsoft.com/office/drawing/2014/main" id="{7F606168-1F7E-41DE-8BF9-D13C287DADDD}"/>
                </a:ext>
              </a:extLst>
            </p:cNvPr>
            <p:cNvSpPr/>
            <p:nvPr/>
          </p:nvSpPr>
          <p:spPr bwMode="ltGray">
            <a:xfrm>
              <a:off x="4763457" y="3262867"/>
              <a:ext cx="136761" cy="136761"/>
            </a:xfrm>
            <a:custGeom>
              <a:avLst/>
              <a:gdLst>
                <a:gd name="connsiteX0" fmla="*/ 68922 w 136761"/>
                <a:gd name="connsiteY0" fmla="*/ 119124 h 136761"/>
                <a:gd name="connsiteX1" fmla="*/ 18721 w 136761"/>
                <a:gd name="connsiteY1" fmla="*/ 68923 h 136761"/>
                <a:gd name="connsiteX2" fmla="*/ 68922 w 136761"/>
                <a:gd name="connsiteY2" fmla="*/ 18721 h 136761"/>
                <a:gd name="connsiteX3" fmla="*/ 119124 w 136761"/>
                <a:gd name="connsiteY3" fmla="*/ 68923 h 136761"/>
                <a:gd name="connsiteX4" fmla="*/ 68922 w 136761"/>
                <a:gd name="connsiteY4" fmla="*/ 119124 h 136761"/>
                <a:gd name="connsiteX5" fmla="*/ 68922 w 136761"/>
                <a:gd name="connsiteY5" fmla="*/ 7006 h 136761"/>
                <a:gd name="connsiteX6" fmla="*/ 7006 w 136761"/>
                <a:gd name="connsiteY6" fmla="*/ 68923 h 136761"/>
                <a:gd name="connsiteX7" fmla="*/ 68922 w 136761"/>
                <a:gd name="connsiteY7" fmla="*/ 130829 h 136761"/>
                <a:gd name="connsiteX8" fmla="*/ 130829 w 136761"/>
                <a:gd name="connsiteY8" fmla="*/ 68923 h 136761"/>
                <a:gd name="connsiteX9" fmla="*/ 68922 w 136761"/>
                <a:gd name="connsiteY9" fmla="*/ 7006 h 13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761" h="136761">
                  <a:moveTo>
                    <a:pt x="68922" y="119124"/>
                  </a:moveTo>
                  <a:cubicBezTo>
                    <a:pt x="41234" y="119124"/>
                    <a:pt x="18721" y="96602"/>
                    <a:pt x="18721" y="68923"/>
                  </a:cubicBezTo>
                  <a:cubicBezTo>
                    <a:pt x="18721" y="41243"/>
                    <a:pt x="41234" y="18721"/>
                    <a:pt x="68922" y="18721"/>
                  </a:cubicBezTo>
                  <a:cubicBezTo>
                    <a:pt x="96602" y="18721"/>
                    <a:pt x="119124" y="41243"/>
                    <a:pt x="119124" y="68923"/>
                  </a:cubicBezTo>
                  <a:cubicBezTo>
                    <a:pt x="119124" y="96602"/>
                    <a:pt x="96602" y="119124"/>
                    <a:pt x="68922" y="119124"/>
                  </a:cubicBezTo>
                  <a:close/>
                  <a:moveTo>
                    <a:pt x="68922" y="7006"/>
                  </a:moveTo>
                  <a:cubicBezTo>
                    <a:pt x="34779" y="7006"/>
                    <a:pt x="7006" y="34779"/>
                    <a:pt x="7006" y="68923"/>
                  </a:cubicBezTo>
                  <a:cubicBezTo>
                    <a:pt x="7006" y="103066"/>
                    <a:pt x="34779" y="130829"/>
                    <a:pt x="68922" y="130829"/>
                  </a:cubicBezTo>
                  <a:cubicBezTo>
                    <a:pt x="103066" y="130829"/>
                    <a:pt x="130829" y="103066"/>
                    <a:pt x="130829" y="68923"/>
                  </a:cubicBezTo>
                  <a:cubicBezTo>
                    <a:pt x="130829" y="34779"/>
                    <a:pt x="103066" y="7006"/>
                    <a:pt x="68922"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2" name="Freeform: Shape 41">
              <a:extLst>
                <a:ext uri="{FF2B5EF4-FFF2-40B4-BE49-F238E27FC236}">
                  <a16:creationId xmlns:a16="http://schemas.microsoft.com/office/drawing/2014/main" id="{88A41719-1D5E-40D6-8584-B91C00E7C15A}"/>
                </a:ext>
              </a:extLst>
            </p:cNvPr>
            <p:cNvSpPr/>
            <p:nvPr/>
          </p:nvSpPr>
          <p:spPr bwMode="ltGray">
            <a:xfrm>
              <a:off x="-2860" y="2722231"/>
              <a:ext cx="955086" cy="313878"/>
            </a:xfrm>
            <a:custGeom>
              <a:avLst/>
              <a:gdLst>
                <a:gd name="connsiteX0" fmla="*/ 345649 w 955086"/>
                <a:gd name="connsiteY0" fmla="*/ 252728 h 313878"/>
                <a:gd name="connsiteX1" fmla="*/ 7006 w 955086"/>
                <a:gd name="connsiteY1" fmla="*/ 252728 h 313878"/>
                <a:gd name="connsiteX2" fmla="*/ 7006 w 955086"/>
                <a:gd name="connsiteY2" fmla="*/ 309011 h 313878"/>
                <a:gd name="connsiteX3" fmla="*/ 368966 w 955086"/>
                <a:gd name="connsiteY3" fmla="*/ 309011 h 313878"/>
                <a:gd name="connsiteX4" fmla="*/ 614688 w 955086"/>
                <a:gd name="connsiteY4" fmla="*/ 63289 h 313878"/>
                <a:gd name="connsiteX5" fmla="*/ 948221 w 955086"/>
                <a:gd name="connsiteY5" fmla="*/ 63289 h 313878"/>
                <a:gd name="connsiteX6" fmla="*/ 948221 w 955086"/>
                <a:gd name="connsiteY6" fmla="*/ 7006 h 313878"/>
                <a:gd name="connsiteX7" fmla="*/ 591371 w 955086"/>
                <a:gd name="connsiteY7" fmla="*/ 7006 h 313878"/>
                <a:gd name="connsiteX8" fmla="*/ 345649 w 955086"/>
                <a:gd name="connsiteY8" fmla="*/ 252728 h 313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5086" h="313878">
                  <a:moveTo>
                    <a:pt x="345649" y="252728"/>
                  </a:moveTo>
                  <a:lnTo>
                    <a:pt x="7006" y="252728"/>
                  </a:lnTo>
                  <a:lnTo>
                    <a:pt x="7006" y="309011"/>
                  </a:lnTo>
                  <a:lnTo>
                    <a:pt x="368966" y="309011"/>
                  </a:lnTo>
                  <a:lnTo>
                    <a:pt x="614688" y="63289"/>
                  </a:lnTo>
                  <a:lnTo>
                    <a:pt x="948221" y="63289"/>
                  </a:lnTo>
                  <a:lnTo>
                    <a:pt x="948221" y="7006"/>
                  </a:lnTo>
                  <a:lnTo>
                    <a:pt x="591371" y="7006"/>
                  </a:lnTo>
                  <a:lnTo>
                    <a:pt x="345649" y="25272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3" name="Freeform: Shape 42">
              <a:extLst>
                <a:ext uri="{FF2B5EF4-FFF2-40B4-BE49-F238E27FC236}">
                  <a16:creationId xmlns:a16="http://schemas.microsoft.com/office/drawing/2014/main" id="{BFCC7078-9BC9-43C2-8A58-5C73B1AB92FE}"/>
                </a:ext>
              </a:extLst>
            </p:cNvPr>
            <p:cNvSpPr/>
            <p:nvPr/>
          </p:nvSpPr>
          <p:spPr bwMode="ltGray">
            <a:xfrm>
              <a:off x="1343547" y="2736299"/>
              <a:ext cx="417009" cy="40356"/>
            </a:xfrm>
            <a:custGeom>
              <a:avLst/>
              <a:gdLst>
                <a:gd name="connsiteX0" fmla="*/ 7006 w 417009"/>
                <a:gd name="connsiteY0" fmla="*/ 7006 h 40355"/>
                <a:gd name="connsiteX1" fmla="*/ 412208 w 417009"/>
                <a:gd name="connsiteY1" fmla="*/ 7006 h 40355"/>
                <a:gd name="connsiteX2" fmla="*/ 412208 w 417009"/>
                <a:gd name="connsiteY2" fmla="*/ 35153 h 40355"/>
                <a:gd name="connsiteX3" fmla="*/ 7006 w 417009"/>
                <a:gd name="connsiteY3" fmla="*/ 35153 h 40355"/>
              </a:gdLst>
              <a:ahLst/>
              <a:cxnLst>
                <a:cxn ang="0">
                  <a:pos x="connsiteX0" y="connsiteY0"/>
                </a:cxn>
                <a:cxn ang="0">
                  <a:pos x="connsiteX1" y="connsiteY1"/>
                </a:cxn>
                <a:cxn ang="0">
                  <a:pos x="connsiteX2" y="connsiteY2"/>
                </a:cxn>
                <a:cxn ang="0">
                  <a:pos x="connsiteX3" y="connsiteY3"/>
                </a:cxn>
              </a:cxnLst>
              <a:rect l="l" t="t" r="r" b="b"/>
              <a:pathLst>
                <a:path w="417009" h="40355">
                  <a:moveTo>
                    <a:pt x="7006" y="7006"/>
                  </a:moveTo>
                  <a:lnTo>
                    <a:pt x="412208" y="7006"/>
                  </a:lnTo>
                  <a:lnTo>
                    <a:pt x="412208" y="35153"/>
                  </a:lnTo>
                  <a:lnTo>
                    <a:pt x="7006" y="3515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4" name="Freeform: Shape 43">
              <a:extLst>
                <a:ext uri="{FF2B5EF4-FFF2-40B4-BE49-F238E27FC236}">
                  <a16:creationId xmlns:a16="http://schemas.microsoft.com/office/drawing/2014/main" id="{1357236B-327C-4FC2-829D-083AE2376176}"/>
                </a:ext>
              </a:extLst>
            </p:cNvPr>
            <p:cNvSpPr/>
            <p:nvPr/>
          </p:nvSpPr>
          <p:spPr bwMode="ltGray">
            <a:xfrm>
              <a:off x="-2860" y="3521780"/>
              <a:ext cx="2340634" cy="493237"/>
            </a:xfrm>
            <a:custGeom>
              <a:avLst/>
              <a:gdLst>
                <a:gd name="connsiteX0" fmla="*/ 1117379 w 2340633"/>
                <a:gd name="connsiteY0" fmla="*/ 238809 h 493236"/>
                <a:gd name="connsiteX1" fmla="*/ 927071 w 2340633"/>
                <a:gd name="connsiteY1" fmla="*/ 238809 h 493236"/>
                <a:gd name="connsiteX2" fmla="*/ 695269 w 2340633"/>
                <a:gd name="connsiteY2" fmla="*/ 7006 h 493236"/>
                <a:gd name="connsiteX3" fmla="*/ 7006 w 2340633"/>
                <a:gd name="connsiteY3" fmla="*/ 7006 h 493236"/>
                <a:gd name="connsiteX4" fmla="*/ 7006 w 2340633"/>
                <a:gd name="connsiteY4" fmla="*/ 35143 h 493236"/>
                <a:gd name="connsiteX5" fmla="*/ 683610 w 2340633"/>
                <a:gd name="connsiteY5" fmla="*/ 35143 h 493236"/>
                <a:gd name="connsiteX6" fmla="*/ 915413 w 2340633"/>
                <a:gd name="connsiteY6" fmla="*/ 266955 h 493236"/>
                <a:gd name="connsiteX7" fmla="*/ 1105721 w 2340633"/>
                <a:gd name="connsiteY7" fmla="*/ 266955 h 493236"/>
                <a:gd name="connsiteX8" fmla="*/ 1325333 w 2340633"/>
                <a:gd name="connsiteY8" fmla="*/ 486567 h 493236"/>
                <a:gd name="connsiteX9" fmla="*/ 2334872 w 2340633"/>
                <a:gd name="connsiteY9" fmla="*/ 486567 h 493236"/>
                <a:gd name="connsiteX10" fmla="*/ 2334872 w 2340633"/>
                <a:gd name="connsiteY10" fmla="*/ 458431 h 493236"/>
                <a:gd name="connsiteX11" fmla="*/ 1336991 w 2340633"/>
                <a:gd name="connsiteY11" fmla="*/ 458431 h 493236"/>
                <a:gd name="connsiteX12" fmla="*/ 1117379 w 2340633"/>
                <a:gd name="connsiteY12" fmla="*/ 238809 h 493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40633" h="493236">
                  <a:moveTo>
                    <a:pt x="1117379" y="238809"/>
                  </a:moveTo>
                  <a:lnTo>
                    <a:pt x="927071" y="238809"/>
                  </a:lnTo>
                  <a:lnTo>
                    <a:pt x="695269" y="7006"/>
                  </a:lnTo>
                  <a:lnTo>
                    <a:pt x="7006" y="7006"/>
                  </a:lnTo>
                  <a:lnTo>
                    <a:pt x="7006" y="35143"/>
                  </a:lnTo>
                  <a:lnTo>
                    <a:pt x="683610" y="35143"/>
                  </a:lnTo>
                  <a:lnTo>
                    <a:pt x="915413" y="266955"/>
                  </a:lnTo>
                  <a:lnTo>
                    <a:pt x="1105721" y="266955"/>
                  </a:lnTo>
                  <a:lnTo>
                    <a:pt x="1325333" y="486567"/>
                  </a:lnTo>
                  <a:lnTo>
                    <a:pt x="2334872" y="486567"/>
                  </a:lnTo>
                  <a:lnTo>
                    <a:pt x="2334872" y="458431"/>
                  </a:lnTo>
                  <a:lnTo>
                    <a:pt x="1336991" y="458431"/>
                  </a:lnTo>
                  <a:lnTo>
                    <a:pt x="1117379" y="23880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5" name="Freeform: Shape 44">
              <a:extLst>
                <a:ext uri="{FF2B5EF4-FFF2-40B4-BE49-F238E27FC236}">
                  <a16:creationId xmlns:a16="http://schemas.microsoft.com/office/drawing/2014/main" id="{687EF3D8-595F-4C74-A88D-8C85A4D2727B}"/>
                </a:ext>
              </a:extLst>
            </p:cNvPr>
            <p:cNvSpPr/>
            <p:nvPr/>
          </p:nvSpPr>
          <p:spPr bwMode="ltGray">
            <a:xfrm>
              <a:off x="1435627" y="3409064"/>
              <a:ext cx="1495405" cy="58292"/>
            </a:xfrm>
            <a:custGeom>
              <a:avLst/>
              <a:gdLst>
                <a:gd name="connsiteX0" fmla="*/ 7006 w 1495404"/>
                <a:gd name="connsiteY0" fmla="*/ 7006 h 58291"/>
                <a:gd name="connsiteX1" fmla="*/ 1489044 w 1495404"/>
                <a:gd name="connsiteY1" fmla="*/ 7006 h 58291"/>
                <a:gd name="connsiteX2" fmla="*/ 1489044 w 1495404"/>
                <a:gd name="connsiteY2" fmla="*/ 52033 h 58291"/>
                <a:gd name="connsiteX3" fmla="*/ 7006 w 1495404"/>
                <a:gd name="connsiteY3" fmla="*/ 52033 h 58291"/>
              </a:gdLst>
              <a:ahLst/>
              <a:cxnLst>
                <a:cxn ang="0">
                  <a:pos x="connsiteX0" y="connsiteY0"/>
                </a:cxn>
                <a:cxn ang="0">
                  <a:pos x="connsiteX1" y="connsiteY1"/>
                </a:cxn>
                <a:cxn ang="0">
                  <a:pos x="connsiteX2" y="connsiteY2"/>
                </a:cxn>
                <a:cxn ang="0">
                  <a:pos x="connsiteX3" y="connsiteY3"/>
                </a:cxn>
              </a:cxnLst>
              <a:rect l="l" t="t" r="r" b="b"/>
              <a:pathLst>
                <a:path w="1495404" h="58291">
                  <a:moveTo>
                    <a:pt x="7006" y="7006"/>
                  </a:moveTo>
                  <a:lnTo>
                    <a:pt x="1489044" y="7006"/>
                  </a:lnTo>
                  <a:lnTo>
                    <a:pt x="1489044" y="52033"/>
                  </a:lnTo>
                  <a:lnTo>
                    <a:pt x="7006" y="5203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6" name="Freeform: Shape 45">
              <a:extLst>
                <a:ext uri="{FF2B5EF4-FFF2-40B4-BE49-F238E27FC236}">
                  <a16:creationId xmlns:a16="http://schemas.microsoft.com/office/drawing/2014/main" id="{B2573248-9A51-4E0D-9844-FD2CDC039D35}"/>
                </a:ext>
              </a:extLst>
            </p:cNvPr>
            <p:cNvSpPr/>
            <p:nvPr/>
          </p:nvSpPr>
          <p:spPr bwMode="ltGray">
            <a:xfrm>
              <a:off x="-2860" y="3404561"/>
              <a:ext cx="2827145" cy="1118751"/>
            </a:xfrm>
            <a:custGeom>
              <a:avLst/>
              <a:gdLst>
                <a:gd name="connsiteX0" fmla="*/ 1988625 w 2827144"/>
                <a:gd name="connsiteY0" fmla="*/ 645683 h 1118751"/>
                <a:gd name="connsiteX1" fmla="*/ 1349948 w 2827144"/>
                <a:gd name="connsiteY1" fmla="*/ 7006 h 1118751"/>
                <a:gd name="connsiteX2" fmla="*/ 7006 w 2827144"/>
                <a:gd name="connsiteY2" fmla="*/ 7006 h 1118751"/>
                <a:gd name="connsiteX3" fmla="*/ 7006 w 2827144"/>
                <a:gd name="connsiteY3" fmla="*/ 18263 h 1118751"/>
                <a:gd name="connsiteX4" fmla="*/ 1345286 w 2827144"/>
                <a:gd name="connsiteY4" fmla="*/ 18263 h 1118751"/>
                <a:gd name="connsiteX5" fmla="*/ 1983963 w 2827144"/>
                <a:gd name="connsiteY5" fmla="*/ 656940 h 1118751"/>
                <a:gd name="connsiteX6" fmla="*/ 2358319 w 2827144"/>
                <a:gd name="connsiteY6" fmla="*/ 656940 h 1118751"/>
                <a:gd name="connsiteX7" fmla="*/ 2813994 w 2827144"/>
                <a:gd name="connsiteY7" fmla="*/ 1112606 h 1118751"/>
                <a:gd name="connsiteX8" fmla="*/ 2821953 w 2827144"/>
                <a:gd name="connsiteY8" fmla="*/ 1104656 h 1118751"/>
                <a:gd name="connsiteX9" fmla="*/ 2362981 w 2827144"/>
                <a:gd name="connsiteY9" fmla="*/ 645683 h 1118751"/>
                <a:gd name="connsiteX10" fmla="*/ 1988625 w 2827144"/>
                <a:gd name="connsiteY10" fmla="*/ 645683 h 1118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27144" h="1118751">
                  <a:moveTo>
                    <a:pt x="1988625" y="645683"/>
                  </a:moveTo>
                  <a:lnTo>
                    <a:pt x="1349948" y="7006"/>
                  </a:lnTo>
                  <a:lnTo>
                    <a:pt x="7006" y="7006"/>
                  </a:lnTo>
                  <a:lnTo>
                    <a:pt x="7006" y="18263"/>
                  </a:lnTo>
                  <a:lnTo>
                    <a:pt x="1345286" y="18263"/>
                  </a:lnTo>
                  <a:lnTo>
                    <a:pt x="1983963" y="656940"/>
                  </a:lnTo>
                  <a:lnTo>
                    <a:pt x="2358319" y="656940"/>
                  </a:lnTo>
                  <a:lnTo>
                    <a:pt x="2813994" y="1112606"/>
                  </a:lnTo>
                  <a:lnTo>
                    <a:pt x="2821953" y="1104656"/>
                  </a:lnTo>
                  <a:lnTo>
                    <a:pt x="2362981" y="645683"/>
                  </a:lnTo>
                  <a:lnTo>
                    <a:pt x="1988625" y="64568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7" name="Freeform: Shape 46">
              <a:extLst>
                <a:ext uri="{FF2B5EF4-FFF2-40B4-BE49-F238E27FC236}">
                  <a16:creationId xmlns:a16="http://schemas.microsoft.com/office/drawing/2014/main" id="{97324E1D-FF8E-4F9A-AB9F-377C3DED2A55}"/>
                </a:ext>
              </a:extLst>
            </p:cNvPr>
            <p:cNvSpPr/>
            <p:nvPr/>
          </p:nvSpPr>
          <p:spPr bwMode="ltGray">
            <a:xfrm>
              <a:off x="1566905" y="3266015"/>
              <a:ext cx="2094015" cy="289216"/>
            </a:xfrm>
            <a:custGeom>
              <a:avLst/>
              <a:gdLst>
                <a:gd name="connsiteX0" fmla="*/ 1900197 w 2094015"/>
                <a:gd name="connsiteY0" fmla="*/ 7006 h 289216"/>
                <a:gd name="connsiteX1" fmla="*/ 1592942 w 2094015"/>
                <a:gd name="connsiteY1" fmla="*/ 7006 h 289216"/>
                <a:gd name="connsiteX2" fmla="*/ 1327108 w 2094015"/>
                <a:gd name="connsiteY2" fmla="*/ 272831 h 289216"/>
                <a:gd name="connsiteX3" fmla="*/ 7006 w 2094015"/>
                <a:gd name="connsiteY3" fmla="*/ 272831 h 289216"/>
                <a:gd name="connsiteX4" fmla="*/ 7006 w 2094015"/>
                <a:gd name="connsiteY4" fmla="*/ 284088 h 289216"/>
                <a:gd name="connsiteX5" fmla="*/ 1331769 w 2094015"/>
                <a:gd name="connsiteY5" fmla="*/ 284088 h 289216"/>
                <a:gd name="connsiteX6" fmla="*/ 1597603 w 2094015"/>
                <a:gd name="connsiteY6" fmla="*/ 18263 h 289216"/>
                <a:gd name="connsiteX7" fmla="*/ 1895536 w 2094015"/>
                <a:gd name="connsiteY7" fmla="*/ 18263 h 289216"/>
                <a:gd name="connsiteX8" fmla="*/ 2012642 w 2094015"/>
                <a:gd name="connsiteY8" fmla="*/ 135369 h 289216"/>
                <a:gd name="connsiteX9" fmla="*/ 2087151 w 2094015"/>
                <a:gd name="connsiteY9" fmla="*/ 135369 h 289216"/>
                <a:gd name="connsiteX10" fmla="*/ 2087151 w 2094015"/>
                <a:gd name="connsiteY10" fmla="*/ 124103 h 289216"/>
                <a:gd name="connsiteX11" fmla="*/ 2017313 w 2094015"/>
                <a:gd name="connsiteY11" fmla="*/ 124103 h 289216"/>
                <a:gd name="connsiteX12" fmla="*/ 1900197 w 2094015"/>
                <a:gd name="connsiteY12" fmla="*/ 7006 h 289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94015" h="289216">
                  <a:moveTo>
                    <a:pt x="1900197" y="7006"/>
                  </a:moveTo>
                  <a:lnTo>
                    <a:pt x="1592942" y="7006"/>
                  </a:lnTo>
                  <a:lnTo>
                    <a:pt x="1327108" y="272831"/>
                  </a:lnTo>
                  <a:lnTo>
                    <a:pt x="7006" y="272831"/>
                  </a:lnTo>
                  <a:lnTo>
                    <a:pt x="7006" y="284088"/>
                  </a:lnTo>
                  <a:lnTo>
                    <a:pt x="1331769" y="284088"/>
                  </a:lnTo>
                  <a:lnTo>
                    <a:pt x="1597603" y="18263"/>
                  </a:lnTo>
                  <a:lnTo>
                    <a:pt x="1895536" y="18263"/>
                  </a:lnTo>
                  <a:lnTo>
                    <a:pt x="2012642" y="135369"/>
                  </a:lnTo>
                  <a:lnTo>
                    <a:pt x="2087151" y="135369"/>
                  </a:lnTo>
                  <a:lnTo>
                    <a:pt x="2087151" y="124103"/>
                  </a:lnTo>
                  <a:lnTo>
                    <a:pt x="2017313" y="124103"/>
                  </a:lnTo>
                  <a:lnTo>
                    <a:pt x="1900197"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8" name="Freeform: Shape 47">
              <a:extLst>
                <a:ext uri="{FF2B5EF4-FFF2-40B4-BE49-F238E27FC236}">
                  <a16:creationId xmlns:a16="http://schemas.microsoft.com/office/drawing/2014/main" id="{D8BB25C6-A822-49B1-B728-E86D841B63F9}"/>
                </a:ext>
              </a:extLst>
            </p:cNvPr>
            <p:cNvSpPr/>
            <p:nvPr/>
          </p:nvSpPr>
          <p:spPr bwMode="ltGray">
            <a:xfrm>
              <a:off x="3149216" y="3830072"/>
              <a:ext cx="2094015" cy="289216"/>
            </a:xfrm>
            <a:custGeom>
              <a:avLst/>
              <a:gdLst>
                <a:gd name="connsiteX0" fmla="*/ 1900197 w 2094015"/>
                <a:gd name="connsiteY0" fmla="*/ 7006 h 289216"/>
                <a:gd name="connsiteX1" fmla="*/ 1592942 w 2094015"/>
                <a:gd name="connsiteY1" fmla="*/ 7006 h 289216"/>
                <a:gd name="connsiteX2" fmla="*/ 1327108 w 2094015"/>
                <a:gd name="connsiteY2" fmla="*/ 272831 h 289216"/>
                <a:gd name="connsiteX3" fmla="*/ 7006 w 2094015"/>
                <a:gd name="connsiteY3" fmla="*/ 272831 h 289216"/>
                <a:gd name="connsiteX4" fmla="*/ 7006 w 2094015"/>
                <a:gd name="connsiteY4" fmla="*/ 284097 h 289216"/>
                <a:gd name="connsiteX5" fmla="*/ 1331769 w 2094015"/>
                <a:gd name="connsiteY5" fmla="*/ 284097 h 289216"/>
                <a:gd name="connsiteX6" fmla="*/ 1597603 w 2094015"/>
                <a:gd name="connsiteY6" fmla="*/ 18263 h 289216"/>
                <a:gd name="connsiteX7" fmla="*/ 1895536 w 2094015"/>
                <a:gd name="connsiteY7" fmla="*/ 18263 h 289216"/>
                <a:gd name="connsiteX8" fmla="*/ 2012642 w 2094015"/>
                <a:gd name="connsiteY8" fmla="*/ 135379 h 289216"/>
                <a:gd name="connsiteX9" fmla="*/ 2087160 w 2094015"/>
                <a:gd name="connsiteY9" fmla="*/ 135379 h 289216"/>
                <a:gd name="connsiteX10" fmla="*/ 2087160 w 2094015"/>
                <a:gd name="connsiteY10" fmla="*/ 124113 h 289216"/>
                <a:gd name="connsiteX11" fmla="*/ 2017303 w 2094015"/>
                <a:gd name="connsiteY11" fmla="*/ 124113 h 289216"/>
                <a:gd name="connsiteX12" fmla="*/ 1900197 w 2094015"/>
                <a:gd name="connsiteY12" fmla="*/ 7006 h 289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94015" h="289216">
                  <a:moveTo>
                    <a:pt x="1900197" y="7006"/>
                  </a:moveTo>
                  <a:lnTo>
                    <a:pt x="1592942" y="7006"/>
                  </a:lnTo>
                  <a:lnTo>
                    <a:pt x="1327108" y="272831"/>
                  </a:lnTo>
                  <a:lnTo>
                    <a:pt x="7006" y="272831"/>
                  </a:lnTo>
                  <a:lnTo>
                    <a:pt x="7006" y="284097"/>
                  </a:lnTo>
                  <a:lnTo>
                    <a:pt x="1331769" y="284097"/>
                  </a:lnTo>
                  <a:lnTo>
                    <a:pt x="1597603" y="18263"/>
                  </a:lnTo>
                  <a:lnTo>
                    <a:pt x="1895536" y="18263"/>
                  </a:lnTo>
                  <a:lnTo>
                    <a:pt x="2012642" y="135379"/>
                  </a:lnTo>
                  <a:lnTo>
                    <a:pt x="2087160" y="135379"/>
                  </a:lnTo>
                  <a:lnTo>
                    <a:pt x="2087160" y="124113"/>
                  </a:lnTo>
                  <a:lnTo>
                    <a:pt x="2017303" y="124113"/>
                  </a:lnTo>
                  <a:lnTo>
                    <a:pt x="1900197"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49" name="Freeform: Shape 48">
              <a:extLst>
                <a:ext uri="{FF2B5EF4-FFF2-40B4-BE49-F238E27FC236}">
                  <a16:creationId xmlns:a16="http://schemas.microsoft.com/office/drawing/2014/main" id="{77E44153-DE2D-4140-AD6C-F90B3B2FFB9F}"/>
                </a:ext>
              </a:extLst>
            </p:cNvPr>
            <p:cNvSpPr/>
            <p:nvPr/>
          </p:nvSpPr>
          <p:spPr bwMode="ltGray">
            <a:xfrm>
              <a:off x="-2860" y="3281560"/>
              <a:ext cx="1035798" cy="114341"/>
            </a:xfrm>
            <a:custGeom>
              <a:avLst/>
              <a:gdLst>
                <a:gd name="connsiteX0" fmla="*/ 274812 w 1035797"/>
                <a:gd name="connsiteY0" fmla="*/ 91436 h 114341"/>
                <a:gd name="connsiteX1" fmla="*/ 7006 w 1035797"/>
                <a:gd name="connsiteY1" fmla="*/ 91436 h 114341"/>
                <a:gd name="connsiteX2" fmla="*/ 7006 w 1035797"/>
                <a:gd name="connsiteY2" fmla="*/ 108316 h 114341"/>
                <a:gd name="connsiteX3" fmla="*/ 281799 w 1035797"/>
                <a:gd name="connsiteY3" fmla="*/ 108316 h 114341"/>
                <a:gd name="connsiteX4" fmla="*/ 366219 w 1035797"/>
                <a:gd name="connsiteY4" fmla="*/ 23896 h 114341"/>
                <a:gd name="connsiteX5" fmla="*/ 1030399 w 1035797"/>
                <a:gd name="connsiteY5" fmla="*/ 23896 h 114341"/>
                <a:gd name="connsiteX6" fmla="*/ 1030399 w 1035797"/>
                <a:gd name="connsiteY6" fmla="*/ 7006 h 114341"/>
                <a:gd name="connsiteX7" fmla="*/ 359232 w 1035797"/>
                <a:gd name="connsiteY7" fmla="*/ 7006 h 114341"/>
                <a:gd name="connsiteX8" fmla="*/ 274812 w 1035797"/>
                <a:gd name="connsiteY8" fmla="*/ 91436 h 11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5797" h="114341">
                  <a:moveTo>
                    <a:pt x="274812" y="91436"/>
                  </a:moveTo>
                  <a:lnTo>
                    <a:pt x="7006" y="91436"/>
                  </a:lnTo>
                  <a:lnTo>
                    <a:pt x="7006" y="108316"/>
                  </a:lnTo>
                  <a:lnTo>
                    <a:pt x="281799" y="108316"/>
                  </a:lnTo>
                  <a:lnTo>
                    <a:pt x="366219" y="23896"/>
                  </a:lnTo>
                  <a:lnTo>
                    <a:pt x="1030399" y="23896"/>
                  </a:lnTo>
                  <a:lnTo>
                    <a:pt x="1030399" y="7006"/>
                  </a:lnTo>
                  <a:lnTo>
                    <a:pt x="359232" y="7006"/>
                  </a:lnTo>
                  <a:lnTo>
                    <a:pt x="274812" y="9143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0" name="Freeform: Shape 49">
              <a:extLst>
                <a:ext uri="{FF2B5EF4-FFF2-40B4-BE49-F238E27FC236}">
                  <a16:creationId xmlns:a16="http://schemas.microsoft.com/office/drawing/2014/main" id="{85EF8773-9F52-4559-A179-93BACC6FD988}"/>
                </a:ext>
              </a:extLst>
            </p:cNvPr>
            <p:cNvSpPr/>
            <p:nvPr/>
          </p:nvSpPr>
          <p:spPr bwMode="ltGray">
            <a:xfrm>
              <a:off x="3347810" y="2551625"/>
              <a:ext cx="654660" cy="29146"/>
            </a:xfrm>
            <a:custGeom>
              <a:avLst/>
              <a:gdLst>
                <a:gd name="connsiteX0" fmla="*/ 7006 w 654659"/>
                <a:gd name="connsiteY0" fmla="*/ 7006 h 29145"/>
                <a:gd name="connsiteX1" fmla="*/ 648187 w 654659"/>
                <a:gd name="connsiteY1" fmla="*/ 7006 h 29145"/>
                <a:gd name="connsiteX2" fmla="*/ 648187 w 654659"/>
                <a:gd name="connsiteY2" fmla="*/ 23896 h 29145"/>
                <a:gd name="connsiteX3" fmla="*/ 7006 w 654659"/>
                <a:gd name="connsiteY3" fmla="*/ 23896 h 29145"/>
              </a:gdLst>
              <a:ahLst/>
              <a:cxnLst>
                <a:cxn ang="0">
                  <a:pos x="connsiteX0" y="connsiteY0"/>
                </a:cxn>
                <a:cxn ang="0">
                  <a:pos x="connsiteX1" y="connsiteY1"/>
                </a:cxn>
                <a:cxn ang="0">
                  <a:pos x="connsiteX2" y="connsiteY2"/>
                </a:cxn>
                <a:cxn ang="0">
                  <a:pos x="connsiteX3" y="connsiteY3"/>
                </a:cxn>
              </a:cxnLst>
              <a:rect l="l" t="t" r="r" b="b"/>
              <a:pathLst>
                <a:path w="654659" h="29145">
                  <a:moveTo>
                    <a:pt x="7006" y="7006"/>
                  </a:moveTo>
                  <a:lnTo>
                    <a:pt x="648187" y="7006"/>
                  </a:lnTo>
                  <a:lnTo>
                    <a:pt x="648187" y="23896"/>
                  </a:lnTo>
                  <a:lnTo>
                    <a:pt x="7006" y="2389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1" name="Freeform: Shape 50">
              <a:extLst>
                <a:ext uri="{FF2B5EF4-FFF2-40B4-BE49-F238E27FC236}">
                  <a16:creationId xmlns:a16="http://schemas.microsoft.com/office/drawing/2014/main" id="{CAE7F514-1192-4D03-9626-17801F396360}"/>
                </a:ext>
              </a:extLst>
            </p:cNvPr>
            <p:cNvSpPr/>
            <p:nvPr/>
          </p:nvSpPr>
          <p:spPr bwMode="ltGray">
            <a:xfrm>
              <a:off x="3254599" y="2849716"/>
              <a:ext cx="798147" cy="255586"/>
            </a:xfrm>
            <a:custGeom>
              <a:avLst/>
              <a:gdLst>
                <a:gd name="connsiteX0" fmla="*/ 549875 w 798147"/>
                <a:gd name="connsiteY0" fmla="*/ 245068 h 255586"/>
                <a:gd name="connsiteX1" fmla="*/ 432610 w 798147"/>
                <a:gd name="connsiteY1" fmla="*/ 245068 h 255586"/>
                <a:gd name="connsiteX2" fmla="*/ 263303 w 798147"/>
                <a:gd name="connsiteY2" fmla="*/ 75760 h 255586"/>
                <a:gd name="connsiteX3" fmla="*/ 7006 w 798147"/>
                <a:gd name="connsiteY3" fmla="*/ 75760 h 255586"/>
                <a:gd name="connsiteX4" fmla="*/ 7006 w 798147"/>
                <a:gd name="connsiteY4" fmla="*/ 81384 h 255586"/>
                <a:gd name="connsiteX5" fmla="*/ 260977 w 798147"/>
                <a:gd name="connsiteY5" fmla="*/ 81384 h 255586"/>
                <a:gd name="connsiteX6" fmla="*/ 430284 w 798147"/>
                <a:gd name="connsiteY6" fmla="*/ 250701 h 255586"/>
                <a:gd name="connsiteX7" fmla="*/ 552211 w 798147"/>
                <a:gd name="connsiteY7" fmla="*/ 250701 h 255586"/>
                <a:gd name="connsiteX8" fmla="*/ 791926 w 798147"/>
                <a:gd name="connsiteY8" fmla="*/ 10986 h 255586"/>
                <a:gd name="connsiteX9" fmla="*/ 787937 w 798147"/>
                <a:gd name="connsiteY9" fmla="*/ 7006 h 255586"/>
                <a:gd name="connsiteX10" fmla="*/ 549875 w 798147"/>
                <a:gd name="connsiteY10" fmla="*/ 245068 h 25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8147" h="255586">
                  <a:moveTo>
                    <a:pt x="549875" y="245068"/>
                  </a:moveTo>
                  <a:lnTo>
                    <a:pt x="432610" y="245068"/>
                  </a:lnTo>
                  <a:lnTo>
                    <a:pt x="263303" y="75760"/>
                  </a:lnTo>
                  <a:lnTo>
                    <a:pt x="7006" y="75760"/>
                  </a:lnTo>
                  <a:lnTo>
                    <a:pt x="7006" y="81384"/>
                  </a:lnTo>
                  <a:lnTo>
                    <a:pt x="260977" y="81384"/>
                  </a:lnTo>
                  <a:lnTo>
                    <a:pt x="430284" y="250701"/>
                  </a:lnTo>
                  <a:lnTo>
                    <a:pt x="552211" y="250701"/>
                  </a:lnTo>
                  <a:lnTo>
                    <a:pt x="791926" y="10986"/>
                  </a:lnTo>
                  <a:lnTo>
                    <a:pt x="787937" y="7006"/>
                  </a:lnTo>
                  <a:lnTo>
                    <a:pt x="549875" y="24506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2" name="Freeform: Shape 51">
              <a:extLst>
                <a:ext uri="{FF2B5EF4-FFF2-40B4-BE49-F238E27FC236}">
                  <a16:creationId xmlns:a16="http://schemas.microsoft.com/office/drawing/2014/main" id="{6F084B42-FBFA-49C2-B741-086F981BCB9A}"/>
                </a:ext>
              </a:extLst>
            </p:cNvPr>
            <p:cNvSpPr/>
            <p:nvPr/>
          </p:nvSpPr>
          <p:spPr bwMode="ltGray">
            <a:xfrm>
              <a:off x="4174309" y="3678878"/>
              <a:ext cx="482027" cy="35872"/>
            </a:xfrm>
            <a:custGeom>
              <a:avLst/>
              <a:gdLst>
                <a:gd name="connsiteX0" fmla="*/ 7006 w 482027"/>
                <a:gd name="connsiteY0" fmla="*/ 7006 h 35871"/>
                <a:gd name="connsiteX1" fmla="*/ 476012 w 482027"/>
                <a:gd name="connsiteY1" fmla="*/ 7006 h 35871"/>
                <a:gd name="connsiteX2" fmla="*/ 476012 w 482027"/>
                <a:gd name="connsiteY2" fmla="*/ 29520 h 35871"/>
                <a:gd name="connsiteX3" fmla="*/ 7006 w 482027"/>
                <a:gd name="connsiteY3" fmla="*/ 29520 h 35871"/>
              </a:gdLst>
              <a:ahLst/>
              <a:cxnLst>
                <a:cxn ang="0">
                  <a:pos x="connsiteX0" y="connsiteY0"/>
                </a:cxn>
                <a:cxn ang="0">
                  <a:pos x="connsiteX1" y="connsiteY1"/>
                </a:cxn>
                <a:cxn ang="0">
                  <a:pos x="connsiteX2" y="connsiteY2"/>
                </a:cxn>
                <a:cxn ang="0">
                  <a:pos x="connsiteX3" y="connsiteY3"/>
                </a:cxn>
              </a:cxnLst>
              <a:rect l="l" t="t" r="r" b="b"/>
              <a:pathLst>
                <a:path w="482027" h="35871">
                  <a:moveTo>
                    <a:pt x="7006" y="7006"/>
                  </a:moveTo>
                  <a:lnTo>
                    <a:pt x="476012" y="7006"/>
                  </a:lnTo>
                  <a:lnTo>
                    <a:pt x="476012" y="29520"/>
                  </a:lnTo>
                  <a:lnTo>
                    <a:pt x="7006" y="2952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3" name="Freeform: Shape 52">
              <a:extLst>
                <a:ext uri="{FF2B5EF4-FFF2-40B4-BE49-F238E27FC236}">
                  <a16:creationId xmlns:a16="http://schemas.microsoft.com/office/drawing/2014/main" id="{8F17A34A-D978-4F96-BDE4-485C7D5B7553}"/>
                </a:ext>
              </a:extLst>
            </p:cNvPr>
            <p:cNvSpPr/>
            <p:nvPr/>
          </p:nvSpPr>
          <p:spPr bwMode="ltGray">
            <a:xfrm>
              <a:off x="4154075" y="2551625"/>
              <a:ext cx="183843" cy="29146"/>
            </a:xfrm>
            <a:custGeom>
              <a:avLst/>
              <a:gdLst>
                <a:gd name="connsiteX0" fmla="*/ 7006 w 183842"/>
                <a:gd name="connsiteY0" fmla="*/ 7006 h 29145"/>
                <a:gd name="connsiteX1" fmla="*/ 177257 w 183842"/>
                <a:gd name="connsiteY1" fmla="*/ 7006 h 29145"/>
                <a:gd name="connsiteX2" fmla="*/ 177257 w 183842"/>
                <a:gd name="connsiteY2" fmla="*/ 23887 h 29145"/>
                <a:gd name="connsiteX3" fmla="*/ 7006 w 183842"/>
                <a:gd name="connsiteY3" fmla="*/ 23887 h 29145"/>
              </a:gdLst>
              <a:ahLst/>
              <a:cxnLst>
                <a:cxn ang="0">
                  <a:pos x="connsiteX0" y="connsiteY0"/>
                </a:cxn>
                <a:cxn ang="0">
                  <a:pos x="connsiteX1" y="connsiteY1"/>
                </a:cxn>
                <a:cxn ang="0">
                  <a:pos x="connsiteX2" y="connsiteY2"/>
                </a:cxn>
                <a:cxn ang="0">
                  <a:pos x="connsiteX3" y="connsiteY3"/>
                </a:cxn>
              </a:cxnLst>
              <a:rect l="l" t="t" r="r" b="b"/>
              <a:pathLst>
                <a:path w="183842" h="29145">
                  <a:moveTo>
                    <a:pt x="7006" y="7006"/>
                  </a:moveTo>
                  <a:lnTo>
                    <a:pt x="177257" y="7006"/>
                  </a:lnTo>
                  <a:lnTo>
                    <a:pt x="177257" y="23887"/>
                  </a:lnTo>
                  <a:lnTo>
                    <a:pt x="7006" y="23887"/>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4" name="Freeform: Shape 53">
              <a:extLst>
                <a:ext uri="{FF2B5EF4-FFF2-40B4-BE49-F238E27FC236}">
                  <a16:creationId xmlns:a16="http://schemas.microsoft.com/office/drawing/2014/main" id="{0EA5A6D4-F203-4715-AA5C-D23BF46ACC46}"/>
                </a:ext>
              </a:extLst>
            </p:cNvPr>
            <p:cNvSpPr/>
            <p:nvPr/>
          </p:nvSpPr>
          <p:spPr bwMode="ltGray">
            <a:xfrm>
              <a:off x="2696353" y="3575391"/>
              <a:ext cx="105373" cy="105373"/>
            </a:xfrm>
            <a:custGeom>
              <a:avLst/>
              <a:gdLst>
                <a:gd name="connsiteX0" fmla="*/ 52864 w 105373"/>
                <a:gd name="connsiteY0" fmla="*/ 7006 h 105373"/>
                <a:gd name="connsiteX1" fmla="*/ 7006 w 105373"/>
                <a:gd name="connsiteY1" fmla="*/ 52874 h 105373"/>
                <a:gd name="connsiteX2" fmla="*/ 52864 w 105373"/>
                <a:gd name="connsiteY2" fmla="*/ 98732 h 105373"/>
                <a:gd name="connsiteX3" fmla="*/ 98722 w 105373"/>
                <a:gd name="connsiteY3" fmla="*/ 52874 h 105373"/>
                <a:gd name="connsiteX4" fmla="*/ 52864 w 105373"/>
                <a:gd name="connsiteY4" fmla="*/ 7006 h 10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373" h="105373">
                  <a:moveTo>
                    <a:pt x="52864" y="7006"/>
                  </a:moveTo>
                  <a:cubicBezTo>
                    <a:pt x="27539" y="7006"/>
                    <a:pt x="7006" y="27548"/>
                    <a:pt x="7006" y="52874"/>
                  </a:cubicBezTo>
                  <a:cubicBezTo>
                    <a:pt x="7006" y="78199"/>
                    <a:pt x="27539" y="98732"/>
                    <a:pt x="52864" y="98732"/>
                  </a:cubicBezTo>
                  <a:cubicBezTo>
                    <a:pt x="78199" y="98732"/>
                    <a:pt x="98722" y="78199"/>
                    <a:pt x="98722" y="52874"/>
                  </a:cubicBezTo>
                  <a:cubicBezTo>
                    <a:pt x="98722" y="27548"/>
                    <a:pt x="78199" y="7006"/>
                    <a:pt x="52864" y="7006"/>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5" name="Freeform: Shape 54">
              <a:extLst>
                <a:ext uri="{FF2B5EF4-FFF2-40B4-BE49-F238E27FC236}">
                  <a16:creationId xmlns:a16="http://schemas.microsoft.com/office/drawing/2014/main" id="{D4E26530-6081-4D0A-825C-C57AE49D4637}"/>
                </a:ext>
              </a:extLst>
            </p:cNvPr>
            <p:cNvSpPr/>
            <p:nvPr/>
          </p:nvSpPr>
          <p:spPr bwMode="ltGray">
            <a:xfrm>
              <a:off x="2012229" y="3612814"/>
              <a:ext cx="654660" cy="29146"/>
            </a:xfrm>
            <a:custGeom>
              <a:avLst/>
              <a:gdLst>
                <a:gd name="connsiteX0" fmla="*/ 7006 w 654659"/>
                <a:gd name="connsiteY0" fmla="*/ 7006 h 29145"/>
                <a:gd name="connsiteX1" fmla="*/ 648177 w 654659"/>
                <a:gd name="connsiteY1" fmla="*/ 7006 h 29145"/>
                <a:gd name="connsiteX2" fmla="*/ 648177 w 654659"/>
                <a:gd name="connsiteY2" fmla="*/ 23896 h 29145"/>
                <a:gd name="connsiteX3" fmla="*/ 7006 w 654659"/>
                <a:gd name="connsiteY3" fmla="*/ 23896 h 29145"/>
              </a:gdLst>
              <a:ahLst/>
              <a:cxnLst>
                <a:cxn ang="0">
                  <a:pos x="connsiteX0" y="connsiteY0"/>
                </a:cxn>
                <a:cxn ang="0">
                  <a:pos x="connsiteX1" y="connsiteY1"/>
                </a:cxn>
                <a:cxn ang="0">
                  <a:pos x="connsiteX2" y="connsiteY2"/>
                </a:cxn>
                <a:cxn ang="0">
                  <a:pos x="connsiteX3" y="connsiteY3"/>
                </a:cxn>
              </a:cxnLst>
              <a:rect l="l" t="t" r="r" b="b"/>
              <a:pathLst>
                <a:path w="654659" h="29145">
                  <a:moveTo>
                    <a:pt x="7006" y="7006"/>
                  </a:moveTo>
                  <a:lnTo>
                    <a:pt x="648177" y="7006"/>
                  </a:lnTo>
                  <a:lnTo>
                    <a:pt x="648177" y="23896"/>
                  </a:lnTo>
                  <a:lnTo>
                    <a:pt x="7006" y="2389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6" name="Freeform: Shape 55">
              <a:extLst>
                <a:ext uri="{FF2B5EF4-FFF2-40B4-BE49-F238E27FC236}">
                  <a16:creationId xmlns:a16="http://schemas.microsoft.com/office/drawing/2014/main" id="{103A0406-19B8-49CD-A370-74D8C9B65A10}"/>
                </a:ext>
              </a:extLst>
            </p:cNvPr>
            <p:cNvSpPr/>
            <p:nvPr/>
          </p:nvSpPr>
          <p:spPr bwMode="ltGray">
            <a:xfrm>
              <a:off x="2818486" y="3612823"/>
              <a:ext cx="183843" cy="29146"/>
            </a:xfrm>
            <a:custGeom>
              <a:avLst/>
              <a:gdLst>
                <a:gd name="connsiteX0" fmla="*/ 7006 w 183842"/>
                <a:gd name="connsiteY0" fmla="*/ 7006 h 29145"/>
                <a:gd name="connsiteX1" fmla="*/ 177257 w 183842"/>
                <a:gd name="connsiteY1" fmla="*/ 7006 h 29145"/>
                <a:gd name="connsiteX2" fmla="*/ 177257 w 183842"/>
                <a:gd name="connsiteY2" fmla="*/ 23887 h 29145"/>
                <a:gd name="connsiteX3" fmla="*/ 7006 w 183842"/>
                <a:gd name="connsiteY3" fmla="*/ 23887 h 29145"/>
              </a:gdLst>
              <a:ahLst/>
              <a:cxnLst>
                <a:cxn ang="0">
                  <a:pos x="connsiteX0" y="connsiteY0"/>
                </a:cxn>
                <a:cxn ang="0">
                  <a:pos x="connsiteX1" y="connsiteY1"/>
                </a:cxn>
                <a:cxn ang="0">
                  <a:pos x="connsiteX2" y="connsiteY2"/>
                </a:cxn>
                <a:cxn ang="0">
                  <a:pos x="connsiteX3" y="connsiteY3"/>
                </a:cxn>
              </a:cxnLst>
              <a:rect l="l" t="t" r="r" b="b"/>
              <a:pathLst>
                <a:path w="183842" h="29145">
                  <a:moveTo>
                    <a:pt x="7006" y="7006"/>
                  </a:moveTo>
                  <a:lnTo>
                    <a:pt x="177257" y="7006"/>
                  </a:lnTo>
                  <a:lnTo>
                    <a:pt x="177257" y="23887"/>
                  </a:lnTo>
                  <a:lnTo>
                    <a:pt x="7006" y="23887"/>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7" name="Freeform: Shape 56">
              <a:extLst>
                <a:ext uri="{FF2B5EF4-FFF2-40B4-BE49-F238E27FC236}">
                  <a16:creationId xmlns:a16="http://schemas.microsoft.com/office/drawing/2014/main" id="{FEBE628D-C225-4EA7-90CE-EFCDF11CA1E0}"/>
                </a:ext>
              </a:extLst>
            </p:cNvPr>
            <p:cNvSpPr/>
            <p:nvPr/>
          </p:nvSpPr>
          <p:spPr bwMode="ltGray">
            <a:xfrm>
              <a:off x="2941262" y="3164808"/>
              <a:ext cx="1802557" cy="181601"/>
            </a:xfrm>
            <a:custGeom>
              <a:avLst/>
              <a:gdLst>
                <a:gd name="connsiteX0" fmla="*/ 507950 w 1802556"/>
                <a:gd name="connsiteY0" fmla="*/ 7006 h 181600"/>
                <a:gd name="connsiteX1" fmla="*/ 7006 w 1802556"/>
                <a:gd name="connsiteY1" fmla="*/ 7006 h 181600"/>
                <a:gd name="connsiteX2" fmla="*/ 7006 w 1802556"/>
                <a:gd name="connsiteY2" fmla="*/ 23886 h 181600"/>
                <a:gd name="connsiteX3" fmla="*/ 500954 w 1802556"/>
                <a:gd name="connsiteY3" fmla="*/ 23886 h 181600"/>
                <a:gd name="connsiteX4" fmla="*/ 651980 w 1802556"/>
                <a:gd name="connsiteY4" fmla="*/ 174903 h 181600"/>
                <a:gd name="connsiteX5" fmla="*/ 1796617 w 1802556"/>
                <a:gd name="connsiteY5" fmla="*/ 174903 h 181600"/>
                <a:gd name="connsiteX6" fmla="*/ 1796617 w 1802556"/>
                <a:gd name="connsiteY6" fmla="*/ 158023 h 181600"/>
                <a:gd name="connsiteX7" fmla="*/ 658967 w 1802556"/>
                <a:gd name="connsiteY7" fmla="*/ 158023 h 181600"/>
                <a:gd name="connsiteX8" fmla="*/ 507950 w 1802556"/>
                <a:gd name="connsiteY8" fmla="*/ 7006 h 18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2556" h="181600">
                  <a:moveTo>
                    <a:pt x="507950" y="7006"/>
                  </a:moveTo>
                  <a:lnTo>
                    <a:pt x="7006" y="7006"/>
                  </a:lnTo>
                  <a:lnTo>
                    <a:pt x="7006" y="23886"/>
                  </a:lnTo>
                  <a:lnTo>
                    <a:pt x="500954" y="23886"/>
                  </a:lnTo>
                  <a:lnTo>
                    <a:pt x="651980" y="174903"/>
                  </a:lnTo>
                  <a:lnTo>
                    <a:pt x="1796617" y="174903"/>
                  </a:lnTo>
                  <a:lnTo>
                    <a:pt x="1796617" y="158023"/>
                  </a:lnTo>
                  <a:lnTo>
                    <a:pt x="658967" y="158023"/>
                  </a:lnTo>
                  <a:lnTo>
                    <a:pt x="507950"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8" name="Freeform: Shape 57">
              <a:extLst>
                <a:ext uri="{FF2B5EF4-FFF2-40B4-BE49-F238E27FC236}">
                  <a16:creationId xmlns:a16="http://schemas.microsoft.com/office/drawing/2014/main" id="{E3054D2C-9504-44BF-BEE0-A50E4456623A}"/>
                </a:ext>
              </a:extLst>
            </p:cNvPr>
            <p:cNvSpPr/>
            <p:nvPr/>
          </p:nvSpPr>
          <p:spPr bwMode="ltGray">
            <a:xfrm>
              <a:off x="3436088" y="3562957"/>
              <a:ext cx="1107541" cy="257828"/>
            </a:xfrm>
            <a:custGeom>
              <a:avLst/>
              <a:gdLst>
                <a:gd name="connsiteX0" fmla="*/ 444820 w 1107541"/>
                <a:gd name="connsiteY0" fmla="*/ 245489 h 257828"/>
                <a:gd name="connsiteX1" fmla="*/ 7006 w 1107541"/>
                <a:gd name="connsiteY1" fmla="*/ 245489 h 257828"/>
                <a:gd name="connsiteX2" fmla="*/ 7006 w 1107541"/>
                <a:gd name="connsiteY2" fmla="*/ 251112 h 257828"/>
                <a:gd name="connsiteX3" fmla="*/ 447146 w 1107541"/>
                <a:gd name="connsiteY3" fmla="*/ 251112 h 257828"/>
                <a:gd name="connsiteX4" fmla="*/ 685638 w 1107541"/>
                <a:gd name="connsiteY4" fmla="*/ 12630 h 257828"/>
                <a:gd name="connsiteX5" fmla="*/ 1102218 w 1107541"/>
                <a:gd name="connsiteY5" fmla="*/ 12630 h 257828"/>
                <a:gd name="connsiteX6" fmla="*/ 1102218 w 1107541"/>
                <a:gd name="connsiteY6" fmla="*/ 7006 h 257828"/>
                <a:gd name="connsiteX7" fmla="*/ 683311 w 1107541"/>
                <a:gd name="connsiteY7" fmla="*/ 7006 h 257828"/>
                <a:gd name="connsiteX8" fmla="*/ 444820 w 1107541"/>
                <a:gd name="connsiteY8" fmla="*/ 245489 h 257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7541" h="257828">
                  <a:moveTo>
                    <a:pt x="444820" y="245489"/>
                  </a:moveTo>
                  <a:lnTo>
                    <a:pt x="7006" y="245489"/>
                  </a:lnTo>
                  <a:lnTo>
                    <a:pt x="7006" y="251112"/>
                  </a:lnTo>
                  <a:lnTo>
                    <a:pt x="447146" y="251112"/>
                  </a:lnTo>
                  <a:lnTo>
                    <a:pt x="685638" y="12630"/>
                  </a:lnTo>
                  <a:lnTo>
                    <a:pt x="1102218" y="12630"/>
                  </a:lnTo>
                  <a:lnTo>
                    <a:pt x="1102218" y="7006"/>
                  </a:lnTo>
                  <a:lnTo>
                    <a:pt x="683311" y="7006"/>
                  </a:lnTo>
                  <a:lnTo>
                    <a:pt x="444820" y="24548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59" name="Freeform: Shape 58">
              <a:extLst>
                <a:ext uri="{FF2B5EF4-FFF2-40B4-BE49-F238E27FC236}">
                  <a16:creationId xmlns:a16="http://schemas.microsoft.com/office/drawing/2014/main" id="{5ED4B78C-3393-4D91-9940-4B96E102EB67}"/>
                </a:ext>
              </a:extLst>
            </p:cNvPr>
            <p:cNvSpPr/>
            <p:nvPr/>
          </p:nvSpPr>
          <p:spPr bwMode="ltGray">
            <a:xfrm>
              <a:off x="3520499" y="3599296"/>
              <a:ext cx="1567148" cy="224199"/>
            </a:xfrm>
            <a:custGeom>
              <a:avLst/>
              <a:gdLst>
                <a:gd name="connsiteX0" fmla="*/ 347023 w 1567148"/>
                <a:gd name="connsiteY0" fmla="*/ 7006 h 224198"/>
                <a:gd name="connsiteX1" fmla="*/ 7006 w 1567148"/>
                <a:gd name="connsiteY1" fmla="*/ 7006 h 224198"/>
                <a:gd name="connsiteX2" fmla="*/ 7006 w 1567148"/>
                <a:gd name="connsiteY2" fmla="*/ 18263 h 224198"/>
                <a:gd name="connsiteX3" fmla="*/ 342361 w 1567148"/>
                <a:gd name="connsiteY3" fmla="*/ 18263 h 224198"/>
                <a:gd name="connsiteX4" fmla="*/ 543393 w 1567148"/>
                <a:gd name="connsiteY4" fmla="*/ 219295 h 224198"/>
                <a:gd name="connsiteX5" fmla="*/ 1560330 w 1567148"/>
                <a:gd name="connsiteY5" fmla="*/ 219295 h 224198"/>
                <a:gd name="connsiteX6" fmla="*/ 1560330 w 1567148"/>
                <a:gd name="connsiteY6" fmla="*/ 208038 h 224198"/>
                <a:gd name="connsiteX7" fmla="*/ 548054 w 1567148"/>
                <a:gd name="connsiteY7" fmla="*/ 208038 h 224198"/>
                <a:gd name="connsiteX8" fmla="*/ 347023 w 1567148"/>
                <a:gd name="connsiteY8" fmla="*/ 7006 h 224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7148" h="224198">
                  <a:moveTo>
                    <a:pt x="347023" y="7006"/>
                  </a:moveTo>
                  <a:lnTo>
                    <a:pt x="7006" y="7006"/>
                  </a:lnTo>
                  <a:lnTo>
                    <a:pt x="7006" y="18263"/>
                  </a:lnTo>
                  <a:lnTo>
                    <a:pt x="342361" y="18263"/>
                  </a:lnTo>
                  <a:lnTo>
                    <a:pt x="543393" y="219295"/>
                  </a:lnTo>
                  <a:lnTo>
                    <a:pt x="1560330" y="219295"/>
                  </a:lnTo>
                  <a:lnTo>
                    <a:pt x="1560330" y="208038"/>
                  </a:lnTo>
                  <a:lnTo>
                    <a:pt x="548054" y="208038"/>
                  </a:lnTo>
                  <a:lnTo>
                    <a:pt x="347023"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60" name="Freeform: Shape 59">
              <a:extLst>
                <a:ext uri="{FF2B5EF4-FFF2-40B4-BE49-F238E27FC236}">
                  <a16:creationId xmlns:a16="http://schemas.microsoft.com/office/drawing/2014/main" id="{3769700D-7D2B-4EE1-A78F-0F25587CE6A0}"/>
                </a:ext>
              </a:extLst>
            </p:cNvPr>
            <p:cNvSpPr/>
            <p:nvPr/>
          </p:nvSpPr>
          <p:spPr bwMode="ltGray">
            <a:xfrm>
              <a:off x="2861765" y="2305221"/>
              <a:ext cx="1161349" cy="103131"/>
            </a:xfrm>
            <a:custGeom>
              <a:avLst/>
              <a:gdLst>
                <a:gd name="connsiteX0" fmla="*/ 248580 w 1161348"/>
                <a:gd name="connsiteY0" fmla="*/ 89894 h 103131"/>
                <a:gd name="connsiteX1" fmla="*/ 7006 w 1161348"/>
                <a:gd name="connsiteY1" fmla="*/ 89894 h 103131"/>
                <a:gd name="connsiteX2" fmla="*/ 7006 w 1161348"/>
                <a:gd name="connsiteY2" fmla="*/ 98358 h 103131"/>
                <a:gd name="connsiteX3" fmla="*/ 252083 w 1161348"/>
                <a:gd name="connsiteY3" fmla="*/ 98358 h 103131"/>
                <a:gd name="connsiteX4" fmla="*/ 334972 w 1161348"/>
                <a:gd name="connsiteY4" fmla="*/ 15470 h 103131"/>
                <a:gd name="connsiteX5" fmla="*/ 1155633 w 1161348"/>
                <a:gd name="connsiteY5" fmla="*/ 15470 h 103131"/>
                <a:gd name="connsiteX6" fmla="*/ 1155633 w 1161348"/>
                <a:gd name="connsiteY6" fmla="*/ 7006 h 103131"/>
                <a:gd name="connsiteX7" fmla="*/ 331459 w 1161348"/>
                <a:gd name="connsiteY7" fmla="*/ 7006 h 103131"/>
                <a:gd name="connsiteX8" fmla="*/ 248580 w 1161348"/>
                <a:gd name="connsiteY8" fmla="*/ 89894 h 10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1348" h="103131">
                  <a:moveTo>
                    <a:pt x="248580" y="89894"/>
                  </a:moveTo>
                  <a:lnTo>
                    <a:pt x="7006" y="89894"/>
                  </a:lnTo>
                  <a:lnTo>
                    <a:pt x="7006" y="98358"/>
                  </a:lnTo>
                  <a:lnTo>
                    <a:pt x="252083" y="98358"/>
                  </a:lnTo>
                  <a:lnTo>
                    <a:pt x="334972" y="15470"/>
                  </a:lnTo>
                  <a:lnTo>
                    <a:pt x="1155633" y="15470"/>
                  </a:lnTo>
                  <a:lnTo>
                    <a:pt x="1155633" y="7006"/>
                  </a:lnTo>
                  <a:lnTo>
                    <a:pt x="331459" y="7006"/>
                  </a:lnTo>
                  <a:lnTo>
                    <a:pt x="248580" y="89894"/>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61" name="Freeform: Shape 60">
              <a:extLst>
                <a:ext uri="{FF2B5EF4-FFF2-40B4-BE49-F238E27FC236}">
                  <a16:creationId xmlns:a16="http://schemas.microsoft.com/office/drawing/2014/main" id="{174648F4-61B6-4C08-A981-23B027EEA025}"/>
                </a:ext>
              </a:extLst>
            </p:cNvPr>
            <p:cNvSpPr/>
            <p:nvPr/>
          </p:nvSpPr>
          <p:spPr bwMode="ltGray">
            <a:xfrm>
              <a:off x="1819381" y="3761560"/>
              <a:ext cx="1161349" cy="103131"/>
            </a:xfrm>
            <a:custGeom>
              <a:avLst/>
              <a:gdLst>
                <a:gd name="connsiteX0" fmla="*/ 248580 w 1161348"/>
                <a:gd name="connsiteY0" fmla="*/ 89885 h 103131"/>
                <a:gd name="connsiteX1" fmla="*/ 7006 w 1161348"/>
                <a:gd name="connsiteY1" fmla="*/ 89885 h 103131"/>
                <a:gd name="connsiteX2" fmla="*/ 7006 w 1161348"/>
                <a:gd name="connsiteY2" fmla="*/ 98349 h 103131"/>
                <a:gd name="connsiteX3" fmla="*/ 252084 w 1161348"/>
                <a:gd name="connsiteY3" fmla="*/ 98349 h 103131"/>
                <a:gd name="connsiteX4" fmla="*/ 334962 w 1161348"/>
                <a:gd name="connsiteY4" fmla="*/ 15470 h 103131"/>
                <a:gd name="connsiteX5" fmla="*/ 1155633 w 1161348"/>
                <a:gd name="connsiteY5" fmla="*/ 15470 h 103131"/>
                <a:gd name="connsiteX6" fmla="*/ 1155633 w 1161348"/>
                <a:gd name="connsiteY6" fmla="*/ 7006 h 103131"/>
                <a:gd name="connsiteX7" fmla="*/ 331459 w 1161348"/>
                <a:gd name="connsiteY7" fmla="*/ 7006 h 103131"/>
                <a:gd name="connsiteX8" fmla="*/ 248580 w 1161348"/>
                <a:gd name="connsiteY8" fmla="*/ 89885 h 10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1348" h="103131">
                  <a:moveTo>
                    <a:pt x="248580" y="89885"/>
                  </a:moveTo>
                  <a:lnTo>
                    <a:pt x="7006" y="89885"/>
                  </a:lnTo>
                  <a:lnTo>
                    <a:pt x="7006" y="98349"/>
                  </a:lnTo>
                  <a:lnTo>
                    <a:pt x="252084" y="98349"/>
                  </a:lnTo>
                  <a:lnTo>
                    <a:pt x="334962" y="15470"/>
                  </a:lnTo>
                  <a:lnTo>
                    <a:pt x="1155633" y="15470"/>
                  </a:lnTo>
                  <a:lnTo>
                    <a:pt x="1155633" y="7006"/>
                  </a:lnTo>
                  <a:lnTo>
                    <a:pt x="331459" y="7006"/>
                  </a:lnTo>
                  <a:lnTo>
                    <a:pt x="248580" y="89885"/>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62" name="Freeform: Shape 61">
              <a:extLst>
                <a:ext uri="{FF2B5EF4-FFF2-40B4-BE49-F238E27FC236}">
                  <a16:creationId xmlns:a16="http://schemas.microsoft.com/office/drawing/2014/main" id="{EE751789-C3D1-4668-A9B2-B8380B5FC9E9}"/>
                </a:ext>
              </a:extLst>
            </p:cNvPr>
            <p:cNvSpPr/>
            <p:nvPr/>
          </p:nvSpPr>
          <p:spPr bwMode="ltGray">
            <a:xfrm>
              <a:off x="4190835" y="2514389"/>
              <a:ext cx="1161349" cy="103131"/>
            </a:xfrm>
            <a:custGeom>
              <a:avLst/>
              <a:gdLst>
                <a:gd name="connsiteX0" fmla="*/ 248581 w 1161348"/>
                <a:gd name="connsiteY0" fmla="*/ 89894 h 103131"/>
                <a:gd name="connsiteX1" fmla="*/ 7006 w 1161348"/>
                <a:gd name="connsiteY1" fmla="*/ 89894 h 103131"/>
                <a:gd name="connsiteX2" fmla="*/ 7006 w 1161348"/>
                <a:gd name="connsiteY2" fmla="*/ 98358 h 103131"/>
                <a:gd name="connsiteX3" fmla="*/ 252084 w 1161348"/>
                <a:gd name="connsiteY3" fmla="*/ 98358 h 103131"/>
                <a:gd name="connsiteX4" fmla="*/ 334962 w 1161348"/>
                <a:gd name="connsiteY4" fmla="*/ 15470 h 103131"/>
                <a:gd name="connsiteX5" fmla="*/ 1155623 w 1161348"/>
                <a:gd name="connsiteY5" fmla="*/ 15470 h 103131"/>
                <a:gd name="connsiteX6" fmla="*/ 1155623 w 1161348"/>
                <a:gd name="connsiteY6" fmla="*/ 7006 h 103131"/>
                <a:gd name="connsiteX7" fmla="*/ 331459 w 1161348"/>
                <a:gd name="connsiteY7" fmla="*/ 7006 h 103131"/>
                <a:gd name="connsiteX8" fmla="*/ 248581 w 1161348"/>
                <a:gd name="connsiteY8" fmla="*/ 89894 h 10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1348" h="103131">
                  <a:moveTo>
                    <a:pt x="248581" y="89894"/>
                  </a:moveTo>
                  <a:lnTo>
                    <a:pt x="7006" y="89894"/>
                  </a:lnTo>
                  <a:lnTo>
                    <a:pt x="7006" y="98358"/>
                  </a:lnTo>
                  <a:lnTo>
                    <a:pt x="252084" y="98358"/>
                  </a:lnTo>
                  <a:lnTo>
                    <a:pt x="334962" y="15470"/>
                  </a:lnTo>
                  <a:lnTo>
                    <a:pt x="1155623" y="15470"/>
                  </a:lnTo>
                  <a:lnTo>
                    <a:pt x="1155623" y="7006"/>
                  </a:lnTo>
                  <a:lnTo>
                    <a:pt x="331459" y="7006"/>
                  </a:lnTo>
                  <a:lnTo>
                    <a:pt x="248581" y="89894"/>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63" name="Freeform: Shape 62">
              <a:extLst>
                <a:ext uri="{FF2B5EF4-FFF2-40B4-BE49-F238E27FC236}">
                  <a16:creationId xmlns:a16="http://schemas.microsoft.com/office/drawing/2014/main" id="{EC21B41A-EBCB-496D-A58B-456A06C1B078}"/>
                </a:ext>
              </a:extLst>
            </p:cNvPr>
            <p:cNvSpPr/>
            <p:nvPr/>
          </p:nvSpPr>
          <p:spPr bwMode="ltGray">
            <a:xfrm>
              <a:off x="3194999" y="4629882"/>
              <a:ext cx="632240" cy="29146"/>
            </a:xfrm>
            <a:custGeom>
              <a:avLst/>
              <a:gdLst>
                <a:gd name="connsiteX0" fmla="*/ 7006 w 632240"/>
                <a:gd name="connsiteY0" fmla="*/ 7006 h 29145"/>
                <a:gd name="connsiteX1" fmla="*/ 626085 w 632240"/>
                <a:gd name="connsiteY1" fmla="*/ 7006 h 29145"/>
                <a:gd name="connsiteX2" fmla="*/ 626085 w 632240"/>
                <a:gd name="connsiteY2" fmla="*/ 23896 h 29145"/>
                <a:gd name="connsiteX3" fmla="*/ 7006 w 632240"/>
                <a:gd name="connsiteY3" fmla="*/ 23896 h 29145"/>
              </a:gdLst>
              <a:ahLst/>
              <a:cxnLst>
                <a:cxn ang="0">
                  <a:pos x="connsiteX0" y="connsiteY0"/>
                </a:cxn>
                <a:cxn ang="0">
                  <a:pos x="connsiteX1" y="connsiteY1"/>
                </a:cxn>
                <a:cxn ang="0">
                  <a:pos x="connsiteX2" y="connsiteY2"/>
                </a:cxn>
                <a:cxn ang="0">
                  <a:pos x="connsiteX3" y="connsiteY3"/>
                </a:cxn>
              </a:cxnLst>
              <a:rect l="l" t="t" r="r" b="b"/>
              <a:pathLst>
                <a:path w="632240" h="29145">
                  <a:moveTo>
                    <a:pt x="7006" y="7006"/>
                  </a:moveTo>
                  <a:lnTo>
                    <a:pt x="626085" y="7006"/>
                  </a:lnTo>
                  <a:lnTo>
                    <a:pt x="626085" y="23896"/>
                  </a:lnTo>
                  <a:lnTo>
                    <a:pt x="7006" y="2389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12" name="Freeform: Shape 13311">
              <a:extLst>
                <a:ext uri="{FF2B5EF4-FFF2-40B4-BE49-F238E27FC236}">
                  <a16:creationId xmlns:a16="http://schemas.microsoft.com/office/drawing/2014/main" id="{2BEFE149-FF85-4758-B042-6F9916FE0C87}"/>
                </a:ext>
              </a:extLst>
            </p:cNvPr>
            <p:cNvSpPr/>
            <p:nvPr/>
          </p:nvSpPr>
          <p:spPr bwMode="ltGray">
            <a:xfrm>
              <a:off x="3284128" y="3900405"/>
              <a:ext cx="47082" cy="17936"/>
            </a:xfrm>
            <a:custGeom>
              <a:avLst/>
              <a:gdLst>
                <a:gd name="connsiteX0" fmla="*/ 7006 w 47081"/>
                <a:gd name="connsiteY0" fmla="*/ 7006 h 17935"/>
                <a:gd name="connsiteX1" fmla="*/ 40776 w 47081"/>
                <a:gd name="connsiteY1" fmla="*/ 7006 h 17935"/>
                <a:gd name="connsiteX2" fmla="*/ 40776 w 47081"/>
                <a:gd name="connsiteY2" fmla="*/ 12621 h 17935"/>
                <a:gd name="connsiteX3" fmla="*/ 7006 w 47081"/>
                <a:gd name="connsiteY3" fmla="*/ 12621 h 17935"/>
              </a:gdLst>
              <a:ahLst/>
              <a:cxnLst>
                <a:cxn ang="0">
                  <a:pos x="connsiteX0" y="connsiteY0"/>
                </a:cxn>
                <a:cxn ang="0">
                  <a:pos x="connsiteX1" y="connsiteY1"/>
                </a:cxn>
                <a:cxn ang="0">
                  <a:pos x="connsiteX2" y="connsiteY2"/>
                </a:cxn>
                <a:cxn ang="0">
                  <a:pos x="connsiteX3" y="connsiteY3"/>
                </a:cxn>
              </a:cxnLst>
              <a:rect l="l" t="t" r="r" b="b"/>
              <a:pathLst>
                <a:path w="47081" h="17935">
                  <a:moveTo>
                    <a:pt x="7006" y="7006"/>
                  </a:moveTo>
                  <a:lnTo>
                    <a:pt x="40776" y="7006"/>
                  </a:lnTo>
                  <a:lnTo>
                    <a:pt x="40776" y="12621"/>
                  </a:lnTo>
                  <a:lnTo>
                    <a:pt x="7006" y="1262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13" name="Freeform: Shape 13312">
              <a:extLst>
                <a:ext uri="{FF2B5EF4-FFF2-40B4-BE49-F238E27FC236}">
                  <a16:creationId xmlns:a16="http://schemas.microsoft.com/office/drawing/2014/main" id="{F12F186A-021C-421C-A011-0ADA179D819E}"/>
                </a:ext>
              </a:extLst>
            </p:cNvPr>
            <p:cNvSpPr/>
            <p:nvPr/>
          </p:nvSpPr>
          <p:spPr bwMode="ltGray">
            <a:xfrm>
              <a:off x="3939704" y="3900405"/>
              <a:ext cx="82953" cy="17936"/>
            </a:xfrm>
            <a:custGeom>
              <a:avLst/>
              <a:gdLst>
                <a:gd name="connsiteX0" fmla="*/ 7006 w 82953"/>
                <a:gd name="connsiteY0" fmla="*/ 7006 h 17935"/>
                <a:gd name="connsiteX1" fmla="*/ 76097 w 82953"/>
                <a:gd name="connsiteY1" fmla="*/ 7006 h 17935"/>
                <a:gd name="connsiteX2" fmla="*/ 76097 w 82953"/>
                <a:gd name="connsiteY2" fmla="*/ 12621 h 17935"/>
                <a:gd name="connsiteX3" fmla="*/ 7006 w 82953"/>
                <a:gd name="connsiteY3" fmla="*/ 12621 h 17935"/>
              </a:gdLst>
              <a:ahLst/>
              <a:cxnLst>
                <a:cxn ang="0">
                  <a:pos x="connsiteX0" y="connsiteY0"/>
                </a:cxn>
                <a:cxn ang="0">
                  <a:pos x="connsiteX1" y="connsiteY1"/>
                </a:cxn>
                <a:cxn ang="0">
                  <a:pos x="connsiteX2" y="connsiteY2"/>
                </a:cxn>
                <a:cxn ang="0">
                  <a:pos x="connsiteX3" y="connsiteY3"/>
                </a:cxn>
              </a:cxnLst>
              <a:rect l="l" t="t" r="r" b="b"/>
              <a:pathLst>
                <a:path w="82953" h="17935">
                  <a:moveTo>
                    <a:pt x="7006" y="7006"/>
                  </a:moveTo>
                  <a:lnTo>
                    <a:pt x="76097" y="7006"/>
                  </a:lnTo>
                  <a:lnTo>
                    <a:pt x="76097" y="12621"/>
                  </a:lnTo>
                  <a:lnTo>
                    <a:pt x="7006" y="1262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16" name="Freeform: Shape 13315">
              <a:extLst>
                <a:ext uri="{FF2B5EF4-FFF2-40B4-BE49-F238E27FC236}">
                  <a16:creationId xmlns:a16="http://schemas.microsoft.com/office/drawing/2014/main" id="{DEC8D821-808F-4EFF-8CDD-8B2B94934C98}"/>
                </a:ext>
              </a:extLst>
            </p:cNvPr>
            <p:cNvSpPr/>
            <p:nvPr/>
          </p:nvSpPr>
          <p:spPr bwMode="ltGray">
            <a:xfrm>
              <a:off x="3386979" y="3900405"/>
              <a:ext cx="82953" cy="17936"/>
            </a:xfrm>
            <a:custGeom>
              <a:avLst/>
              <a:gdLst>
                <a:gd name="connsiteX0" fmla="*/ 7006 w 82953"/>
                <a:gd name="connsiteY0" fmla="*/ 7006 h 17935"/>
                <a:gd name="connsiteX1" fmla="*/ 76097 w 82953"/>
                <a:gd name="connsiteY1" fmla="*/ 7006 h 17935"/>
                <a:gd name="connsiteX2" fmla="*/ 76097 w 82953"/>
                <a:gd name="connsiteY2" fmla="*/ 12621 h 17935"/>
                <a:gd name="connsiteX3" fmla="*/ 7006 w 82953"/>
                <a:gd name="connsiteY3" fmla="*/ 12621 h 17935"/>
              </a:gdLst>
              <a:ahLst/>
              <a:cxnLst>
                <a:cxn ang="0">
                  <a:pos x="connsiteX0" y="connsiteY0"/>
                </a:cxn>
                <a:cxn ang="0">
                  <a:pos x="connsiteX1" y="connsiteY1"/>
                </a:cxn>
                <a:cxn ang="0">
                  <a:pos x="connsiteX2" y="connsiteY2"/>
                </a:cxn>
                <a:cxn ang="0">
                  <a:pos x="connsiteX3" y="connsiteY3"/>
                </a:cxn>
              </a:cxnLst>
              <a:rect l="l" t="t" r="r" b="b"/>
              <a:pathLst>
                <a:path w="82953" h="17935">
                  <a:moveTo>
                    <a:pt x="7006" y="7006"/>
                  </a:moveTo>
                  <a:lnTo>
                    <a:pt x="76097" y="7006"/>
                  </a:lnTo>
                  <a:lnTo>
                    <a:pt x="76097" y="12621"/>
                  </a:lnTo>
                  <a:lnTo>
                    <a:pt x="7006" y="1262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17" name="Freeform: Shape 13316">
              <a:extLst>
                <a:ext uri="{FF2B5EF4-FFF2-40B4-BE49-F238E27FC236}">
                  <a16:creationId xmlns:a16="http://schemas.microsoft.com/office/drawing/2014/main" id="{DA9AAB05-DD0E-41C6-8E0E-F877924B3128}"/>
                </a:ext>
              </a:extLst>
            </p:cNvPr>
            <p:cNvSpPr/>
            <p:nvPr/>
          </p:nvSpPr>
          <p:spPr bwMode="ltGray">
            <a:xfrm>
              <a:off x="3801523" y="3900405"/>
              <a:ext cx="82953" cy="17936"/>
            </a:xfrm>
            <a:custGeom>
              <a:avLst/>
              <a:gdLst>
                <a:gd name="connsiteX0" fmla="*/ 7006 w 82953"/>
                <a:gd name="connsiteY0" fmla="*/ 7006 h 17935"/>
                <a:gd name="connsiteX1" fmla="*/ 76097 w 82953"/>
                <a:gd name="connsiteY1" fmla="*/ 7006 h 17935"/>
                <a:gd name="connsiteX2" fmla="*/ 76097 w 82953"/>
                <a:gd name="connsiteY2" fmla="*/ 12621 h 17935"/>
                <a:gd name="connsiteX3" fmla="*/ 7006 w 82953"/>
                <a:gd name="connsiteY3" fmla="*/ 12621 h 17935"/>
              </a:gdLst>
              <a:ahLst/>
              <a:cxnLst>
                <a:cxn ang="0">
                  <a:pos x="connsiteX0" y="connsiteY0"/>
                </a:cxn>
                <a:cxn ang="0">
                  <a:pos x="connsiteX1" y="connsiteY1"/>
                </a:cxn>
                <a:cxn ang="0">
                  <a:pos x="connsiteX2" y="connsiteY2"/>
                </a:cxn>
                <a:cxn ang="0">
                  <a:pos x="connsiteX3" y="connsiteY3"/>
                </a:cxn>
              </a:cxnLst>
              <a:rect l="l" t="t" r="r" b="b"/>
              <a:pathLst>
                <a:path w="82953" h="17935">
                  <a:moveTo>
                    <a:pt x="7006" y="7006"/>
                  </a:moveTo>
                  <a:lnTo>
                    <a:pt x="76097" y="7006"/>
                  </a:lnTo>
                  <a:lnTo>
                    <a:pt x="76097" y="12621"/>
                  </a:lnTo>
                  <a:lnTo>
                    <a:pt x="7006" y="1262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18" name="Freeform: Shape 13317">
              <a:extLst>
                <a:ext uri="{FF2B5EF4-FFF2-40B4-BE49-F238E27FC236}">
                  <a16:creationId xmlns:a16="http://schemas.microsoft.com/office/drawing/2014/main" id="{4284A3E6-DD8A-434F-BE53-59F555F8A836}"/>
                </a:ext>
              </a:extLst>
            </p:cNvPr>
            <p:cNvSpPr/>
            <p:nvPr/>
          </p:nvSpPr>
          <p:spPr bwMode="ltGray">
            <a:xfrm>
              <a:off x="3525160" y="3900405"/>
              <a:ext cx="82953" cy="17936"/>
            </a:xfrm>
            <a:custGeom>
              <a:avLst/>
              <a:gdLst>
                <a:gd name="connsiteX0" fmla="*/ 7006 w 82953"/>
                <a:gd name="connsiteY0" fmla="*/ 7006 h 17935"/>
                <a:gd name="connsiteX1" fmla="*/ 76097 w 82953"/>
                <a:gd name="connsiteY1" fmla="*/ 7006 h 17935"/>
                <a:gd name="connsiteX2" fmla="*/ 76097 w 82953"/>
                <a:gd name="connsiteY2" fmla="*/ 12621 h 17935"/>
                <a:gd name="connsiteX3" fmla="*/ 7006 w 82953"/>
                <a:gd name="connsiteY3" fmla="*/ 12621 h 17935"/>
              </a:gdLst>
              <a:ahLst/>
              <a:cxnLst>
                <a:cxn ang="0">
                  <a:pos x="connsiteX0" y="connsiteY0"/>
                </a:cxn>
                <a:cxn ang="0">
                  <a:pos x="connsiteX1" y="connsiteY1"/>
                </a:cxn>
                <a:cxn ang="0">
                  <a:pos x="connsiteX2" y="connsiteY2"/>
                </a:cxn>
                <a:cxn ang="0">
                  <a:pos x="connsiteX3" y="connsiteY3"/>
                </a:cxn>
              </a:cxnLst>
              <a:rect l="l" t="t" r="r" b="b"/>
              <a:pathLst>
                <a:path w="82953" h="17935">
                  <a:moveTo>
                    <a:pt x="7006" y="7006"/>
                  </a:moveTo>
                  <a:lnTo>
                    <a:pt x="76097" y="7006"/>
                  </a:lnTo>
                  <a:lnTo>
                    <a:pt x="76097" y="12621"/>
                  </a:lnTo>
                  <a:lnTo>
                    <a:pt x="7006" y="1262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19" name="Freeform: Shape 13318">
              <a:extLst>
                <a:ext uri="{FF2B5EF4-FFF2-40B4-BE49-F238E27FC236}">
                  <a16:creationId xmlns:a16="http://schemas.microsoft.com/office/drawing/2014/main" id="{ABE75A4F-B2B9-4C07-8B95-CAA8AEEFF1A4}"/>
                </a:ext>
              </a:extLst>
            </p:cNvPr>
            <p:cNvSpPr/>
            <p:nvPr/>
          </p:nvSpPr>
          <p:spPr bwMode="ltGray">
            <a:xfrm>
              <a:off x="3663341" y="3900405"/>
              <a:ext cx="82953" cy="17936"/>
            </a:xfrm>
            <a:custGeom>
              <a:avLst/>
              <a:gdLst>
                <a:gd name="connsiteX0" fmla="*/ 7006 w 82953"/>
                <a:gd name="connsiteY0" fmla="*/ 7006 h 17935"/>
                <a:gd name="connsiteX1" fmla="*/ 76097 w 82953"/>
                <a:gd name="connsiteY1" fmla="*/ 7006 h 17935"/>
                <a:gd name="connsiteX2" fmla="*/ 76097 w 82953"/>
                <a:gd name="connsiteY2" fmla="*/ 12621 h 17935"/>
                <a:gd name="connsiteX3" fmla="*/ 7006 w 82953"/>
                <a:gd name="connsiteY3" fmla="*/ 12621 h 17935"/>
              </a:gdLst>
              <a:ahLst/>
              <a:cxnLst>
                <a:cxn ang="0">
                  <a:pos x="connsiteX0" y="connsiteY0"/>
                </a:cxn>
                <a:cxn ang="0">
                  <a:pos x="connsiteX1" y="connsiteY1"/>
                </a:cxn>
                <a:cxn ang="0">
                  <a:pos x="connsiteX2" y="connsiteY2"/>
                </a:cxn>
                <a:cxn ang="0">
                  <a:pos x="connsiteX3" y="connsiteY3"/>
                </a:cxn>
              </a:cxnLst>
              <a:rect l="l" t="t" r="r" b="b"/>
              <a:pathLst>
                <a:path w="82953" h="17935">
                  <a:moveTo>
                    <a:pt x="7006" y="7006"/>
                  </a:moveTo>
                  <a:lnTo>
                    <a:pt x="76097" y="7006"/>
                  </a:lnTo>
                  <a:lnTo>
                    <a:pt x="76097" y="12621"/>
                  </a:lnTo>
                  <a:lnTo>
                    <a:pt x="7006" y="1262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0" name="Freeform: Shape 13319">
              <a:extLst>
                <a:ext uri="{FF2B5EF4-FFF2-40B4-BE49-F238E27FC236}">
                  <a16:creationId xmlns:a16="http://schemas.microsoft.com/office/drawing/2014/main" id="{B4E8A190-6304-4980-91BE-D6E4266BC929}"/>
                </a:ext>
              </a:extLst>
            </p:cNvPr>
            <p:cNvSpPr/>
            <p:nvPr/>
          </p:nvSpPr>
          <p:spPr bwMode="ltGray">
            <a:xfrm>
              <a:off x="4077885" y="3900405"/>
              <a:ext cx="71744" cy="47082"/>
            </a:xfrm>
            <a:custGeom>
              <a:avLst/>
              <a:gdLst>
                <a:gd name="connsiteX0" fmla="*/ 7006 w 71743"/>
                <a:gd name="connsiteY0" fmla="*/ 7006 h 47081"/>
                <a:gd name="connsiteX1" fmla="*/ 7006 w 71743"/>
                <a:gd name="connsiteY1" fmla="*/ 12621 h 47081"/>
                <a:gd name="connsiteX2" fmla="*/ 31892 w 71743"/>
                <a:gd name="connsiteY2" fmla="*/ 12621 h 47081"/>
                <a:gd name="connsiteX3" fmla="*/ 61496 w 71743"/>
                <a:gd name="connsiteY3" fmla="*/ 42233 h 47081"/>
                <a:gd name="connsiteX4" fmla="*/ 65475 w 71743"/>
                <a:gd name="connsiteY4" fmla="*/ 38245 h 47081"/>
                <a:gd name="connsiteX5" fmla="*/ 34218 w 71743"/>
                <a:gd name="connsiteY5" fmla="*/ 7006 h 47081"/>
                <a:gd name="connsiteX6" fmla="*/ 7006 w 71743"/>
                <a:gd name="connsiteY6" fmla="*/ 7006 h 47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743" h="47081">
                  <a:moveTo>
                    <a:pt x="7006" y="7006"/>
                  </a:moveTo>
                  <a:lnTo>
                    <a:pt x="7006" y="12621"/>
                  </a:lnTo>
                  <a:lnTo>
                    <a:pt x="31892" y="12621"/>
                  </a:lnTo>
                  <a:lnTo>
                    <a:pt x="61496" y="42233"/>
                  </a:lnTo>
                  <a:lnTo>
                    <a:pt x="65475" y="38245"/>
                  </a:lnTo>
                  <a:lnTo>
                    <a:pt x="34218" y="7006"/>
                  </a:lnTo>
                  <a:lnTo>
                    <a:pt x="7006" y="700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1" name="Freeform: Shape 13320">
              <a:extLst>
                <a:ext uri="{FF2B5EF4-FFF2-40B4-BE49-F238E27FC236}">
                  <a16:creationId xmlns:a16="http://schemas.microsoft.com/office/drawing/2014/main" id="{B7462F1D-A9D7-4B8A-B22A-54336E5CA3C0}"/>
                </a:ext>
              </a:extLst>
            </p:cNvPr>
            <p:cNvSpPr/>
            <p:nvPr/>
          </p:nvSpPr>
          <p:spPr bwMode="ltGray">
            <a:xfrm>
              <a:off x="4339721" y="3935445"/>
              <a:ext cx="82953" cy="17936"/>
            </a:xfrm>
            <a:custGeom>
              <a:avLst/>
              <a:gdLst>
                <a:gd name="connsiteX0" fmla="*/ 7006 w 82953"/>
                <a:gd name="connsiteY0" fmla="*/ 7006 h 17935"/>
                <a:gd name="connsiteX1" fmla="*/ 76097 w 82953"/>
                <a:gd name="connsiteY1" fmla="*/ 7006 h 17935"/>
                <a:gd name="connsiteX2" fmla="*/ 76097 w 82953"/>
                <a:gd name="connsiteY2" fmla="*/ 12630 h 17935"/>
                <a:gd name="connsiteX3" fmla="*/ 7006 w 82953"/>
                <a:gd name="connsiteY3" fmla="*/ 12630 h 17935"/>
              </a:gdLst>
              <a:ahLst/>
              <a:cxnLst>
                <a:cxn ang="0">
                  <a:pos x="connsiteX0" y="connsiteY0"/>
                </a:cxn>
                <a:cxn ang="0">
                  <a:pos x="connsiteX1" y="connsiteY1"/>
                </a:cxn>
                <a:cxn ang="0">
                  <a:pos x="connsiteX2" y="connsiteY2"/>
                </a:cxn>
                <a:cxn ang="0">
                  <a:pos x="connsiteX3" y="connsiteY3"/>
                </a:cxn>
              </a:cxnLst>
              <a:rect l="l" t="t" r="r" b="b"/>
              <a:pathLst>
                <a:path w="82953" h="17935">
                  <a:moveTo>
                    <a:pt x="7006" y="7006"/>
                  </a:moveTo>
                  <a:lnTo>
                    <a:pt x="76097" y="7006"/>
                  </a:lnTo>
                  <a:lnTo>
                    <a:pt x="76097" y="12630"/>
                  </a:lnTo>
                  <a:lnTo>
                    <a:pt x="7006" y="126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2" name="Freeform: Shape 13321">
              <a:extLst>
                <a:ext uri="{FF2B5EF4-FFF2-40B4-BE49-F238E27FC236}">
                  <a16:creationId xmlns:a16="http://schemas.microsoft.com/office/drawing/2014/main" id="{70ED982C-FD0E-4C42-B540-8BE65612AF2E}"/>
                </a:ext>
              </a:extLst>
            </p:cNvPr>
            <p:cNvSpPr/>
            <p:nvPr/>
          </p:nvSpPr>
          <p:spPr bwMode="ltGray">
            <a:xfrm>
              <a:off x="4477902" y="3935445"/>
              <a:ext cx="82953" cy="17936"/>
            </a:xfrm>
            <a:custGeom>
              <a:avLst/>
              <a:gdLst>
                <a:gd name="connsiteX0" fmla="*/ 7006 w 82953"/>
                <a:gd name="connsiteY0" fmla="*/ 7006 h 17935"/>
                <a:gd name="connsiteX1" fmla="*/ 76097 w 82953"/>
                <a:gd name="connsiteY1" fmla="*/ 7006 h 17935"/>
                <a:gd name="connsiteX2" fmla="*/ 76097 w 82953"/>
                <a:gd name="connsiteY2" fmla="*/ 12630 h 17935"/>
                <a:gd name="connsiteX3" fmla="*/ 7006 w 82953"/>
                <a:gd name="connsiteY3" fmla="*/ 12630 h 17935"/>
              </a:gdLst>
              <a:ahLst/>
              <a:cxnLst>
                <a:cxn ang="0">
                  <a:pos x="connsiteX0" y="connsiteY0"/>
                </a:cxn>
                <a:cxn ang="0">
                  <a:pos x="connsiteX1" y="connsiteY1"/>
                </a:cxn>
                <a:cxn ang="0">
                  <a:pos x="connsiteX2" y="connsiteY2"/>
                </a:cxn>
                <a:cxn ang="0">
                  <a:pos x="connsiteX3" y="connsiteY3"/>
                </a:cxn>
              </a:cxnLst>
              <a:rect l="l" t="t" r="r" b="b"/>
              <a:pathLst>
                <a:path w="82953" h="17935">
                  <a:moveTo>
                    <a:pt x="7006" y="7006"/>
                  </a:moveTo>
                  <a:lnTo>
                    <a:pt x="76097" y="7006"/>
                  </a:lnTo>
                  <a:lnTo>
                    <a:pt x="76097" y="12630"/>
                  </a:lnTo>
                  <a:lnTo>
                    <a:pt x="7006" y="126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3" name="Freeform: Shape 13322">
              <a:extLst>
                <a:ext uri="{FF2B5EF4-FFF2-40B4-BE49-F238E27FC236}">
                  <a16:creationId xmlns:a16="http://schemas.microsoft.com/office/drawing/2014/main" id="{E878DF4D-7BCC-4CF7-9F67-76EA8BB2C377}"/>
                </a:ext>
              </a:extLst>
            </p:cNvPr>
            <p:cNvSpPr/>
            <p:nvPr/>
          </p:nvSpPr>
          <p:spPr bwMode="ltGray">
            <a:xfrm>
              <a:off x="4201549" y="3935445"/>
              <a:ext cx="82953" cy="17936"/>
            </a:xfrm>
            <a:custGeom>
              <a:avLst/>
              <a:gdLst>
                <a:gd name="connsiteX0" fmla="*/ 7006 w 82953"/>
                <a:gd name="connsiteY0" fmla="*/ 7006 h 17935"/>
                <a:gd name="connsiteX1" fmla="*/ 76087 w 82953"/>
                <a:gd name="connsiteY1" fmla="*/ 7006 h 17935"/>
                <a:gd name="connsiteX2" fmla="*/ 76087 w 82953"/>
                <a:gd name="connsiteY2" fmla="*/ 12630 h 17935"/>
                <a:gd name="connsiteX3" fmla="*/ 7006 w 82953"/>
                <a:gd name="connsiteY3" fmla="*/ 12630 h 17935"/>
              </a:gdLst>
              <a:ahLst/>
              <a:cxnLst>
                <a:cxn ang="0">
                  <a:pos x="connsiteX0" y="connsiteY0"/>
                </a:cxn>
                <a:cxn ang="0">
                  <a:pos x="connsiteX1" y="connsiteY1"/>
                </a:cxn>
                <a:cxn ang="0">
                  <a:pos x="connsiteX2" y="connsiteY2"/>
                </a:cxn>
                <a:cxn ang="0">
                  <a:pos x="connsiteX3" y="connsiteY3"/>
                </a:cxn>
              </a:cxnLst>
              <a:rect l="l" t="t" r="r" b="b"/>
              <a:pathLst>
                <a:path w="82953" h="17935">
                  <a:moveTo>
                    <a:pt x="7006" y="7006"/>
                  </a:moveTo>
                  <a:lnTo>
                    <a:pt x="76087" y="7006"/>
                  </a:lnTo>
                  <a:lnTo>
                    <a:pt x="76087" y="12630"/>
                  </a:lnTo>
                  <a:lnTo>
                    <a:pt x="7006" y="126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4" name="Freeform: Shape 13323">
              <a:extLst>
                <a:ext uri="{FF2B5EF4-FFF2-40B4-BE49-F238E27FC236}">
                  <a16:creationId xmlns:a16="http://schemas.microsoft.com/office/drawing/2014/main" id="{E7D6B575-60FA-49DD-88F1-3F794D2C6F8E}"/>
                </a:ext>
              </a:extLst>
            </p:cNvPr>
            <p:cNvSpPr/>
            <p:nvPr/>
          </p:nvSpPr>
          <p:spPr bwMode="ltGray">
            <a:xfrm>
              <a:off x="4616084" y="3935445"/>
              <a:ext cx="47082" cy="17936"/>
            </a:xfrm>
            <a:custGeom>
              <a:avLst/>
              <a:gdLst>
                <a:gd name="connsiteX0" fmla="*/ 7006 w 47081"/>
                <a:gd name="connsiteY0" fmla="*/ 7006 h 17935"/>
                <a:gd name="connsiteX1" fmla="*/ 40776 w 47081"/>
                <a:gd name="connsiteY1" fmla="*/ 7006 h 17935"/>
                <a:gd name="connsiteX2" fmla="*/ 40776 w 47081"/>
                <a:gd name="connsiteY2" fmla="*/ 12630 h 17935"/>
                <a:gd name="connsiteX3" fmla="*/ 7006 w 47081"/>
                <a:gd name="connsiteY3" fmla="*/ 12630 h 17935"/>
              </a:gdLst>
              <a:ahLst/>
              <a:cxnLst>
                <a:cxn ang="0">
                  <a:pos x="connsiteX0" y="connsiteY0"/>
                </a:cxn>
                <a:cxn ang="0">
                  <a:pos x="connsiteX1" y="connsiteY1"/>
                </a:cxn>
                <a:cxn ang="0">
                  <a:pos x="connsiteX2" y="connsiteY2"/>
                </a:cxn>
                <a:cxn ang="0">
                  <a:pos x="connsiteX3" y="connsiteY3"/>
                </a:cxn>
              </a:cxnLst>
              <a:rect l="l" t="t" r="r" b="b"/>
              <a:pathLst>
                <a:path w="47081" h="17935">
                  <a:moveTo>
                    <a:pt x="7006" y="7006"/>
                  </a:moveTo>
                  <a:lnTo>
                    <a:pt x="40776" y="7006"/>
                  </a:lnTo>
                  <a:lnTo>
                    <a:pt x="40776" y="12630"/>
                  </a:lnTo>
                  <a:lnTo>
                    <a:pt x="7006" y="126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5" name="Freeform: Shape 13324">
              <a:extLst>
                <a:ext uri="{FF2B5EF4-FFF2-40B4-BE49-F238E27FC236}">
                  <a16:creationId xmlns:a16="http://schemas.microsoft.com/office/drawing/2014/main" id="{F92C5791-AC65-436E-BF5F-47301ECDC72E}"/>
                </a:ext>
              </a:extLst>
            </p:cNvPr>
            <p:cNvSpPr/>
            <p:nvPr/>
          </p:nvSpPr>
          <p:spPr bwMode="ltGray">
            <a:xfrm>
              <a:off x="3346642" y="3122127"/>
              <a:ext cx="80712" cy="17936"/>
            </a:xfrm>
            <a:custGeom>
              <a:avLst/>
              <a:gdLst>
                <a:gd name="connsiteX0" fmla="*/ 7006 w 80711"/>
                <a:gd name="connsiteY0" fmla="*/ 7006 h 17935"/>
                <a:gd name="connsiteX1" fmla="*/ 74537 w 80711"/>
                <a:gd name="connsiteY1" fmla="*/ 7006 h 17935"/>
                <a:gd name="connsiteX2" fmla="*/ 74537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37" y="7006"/>
                  </a:lnTo>
                  <a:lnTo>
                    <a:pt x="74537"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6" name="Freeform: Shape 13325">
              <a:extLst>
                <a:ext uri="{FF2B5EF4-FFF2-40B4-BE49-F238E27FC236}">
                  <a16:creationId xmlns:a16="http://schemas.microsoft.com/office/drawing/2014/main" id="{03B98DCB-C56F-4553-946A-910F76B39C93}"/>
                </a:ext>
              </a:extLst>
            </p:cNvPr>
            <p:cNvSpPr/>
            <p:nvPr/>
          </p:nvSpPr>
          <p:spPr bwMode="ltGray">
            <a:xfrm>
              <a:off x="3481712" y="3122127"/>
              <a:ext cx="80712" cy="17936"/>
            </a:xfrm>
            <a:custGeom>
              <a:avLst/>
              <a:gdLst>
                <a:gd name="connsiteX0" fmla="*/ 7006 w 80711"/>
                <a:gd name="connsiteY0" fmla="*/ 7006 h 17935"/>
                <a:gd name="connsiteX1" fmla="*/ 74537 w 80711"/>
                <a:gd name="connsiteY1" fmla="*/ 7006 h 17935"/>
                <a:gd name="connsiteX2" fmla="*/ 74537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37" y="7006"/>
                  </a:lnTo>
                  <a:lnTo>
                    <a:pt x="74537"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7" name="Freeform: Shape 13326">
              <a:extLst>
                <a:ext uri="{FF2B5EF4-FFF2-40B4-BE49-F238E27FC236}">
                  <a16:creationId xmlns:a16="http://schemas.microsoft.com/office/drawing/2014/main" id="{3B3C9BCA-BAF3-4AF4-94ED-EBE91E3C2870}"/>
                </a:ext>
              </a:extLst>
            </p:cNvPr>
            <p:cNvSpPr/>
            <p:nvPr/>
          </p:nvSpPr>
          <p:spPr bwMode="ltGray">
            <a:xfrm>
              <a:off x="3616783"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8" name="Freeform: Shape 13327">
              <a:extLst>
                <a:ext uri="{FF2B5EF4-FFF2-40B4-BE49-F238E27FC236}">
                  <a16:creationId xmlns:a16="http://schemas.microsoft.com/office/drawing/2014/main" id="{4F52FF49-C042-4D32-9B1B-412E9A0FF370}"/>
                </a:ext>
              </a:extLst>
            </p:cNvPr>
            <p:cNvSpPr/>
            <p:nvPr/>
          </p:nvSpPr>
          <p:spPr bwMode="ltGray">
            <a:xfrm>
              <a:off x="3211562"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29" name="Freeform: Shape 13328">
              <a:extLst>
                <a:ext uri="{FF2B5EF4-FFF2-40B4-BE49-F238E27FC236}">
                  <a16:creationId xmlns:a16="http://schemas.microsoft.com/office/drawing/2014/main" id="{BF8054B7-244B-492E-8F9F-AE6ACE9E395F}"/>
                </a:ext>
              </a:extLst>
            </p:cNvPr>
            <p:cNvSpPr/>
            <p:nvPr/>
          </p:nvSpPr>
          <p:spPr bwMode="ltGray">
            <a:xfrm>
              <a:off x="2941421"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0" name="Freeform: Shape 13329">
              <a:extLst>
                <a:ext uri="{FF2B5EF4-FFF2-40B4-BE49-F238E27FC236}">
                  <a16:creationId xmlns:a16="http://schemas.microsoft.com/office/drawing/2014/main" id="{E3483E1A-7559-49EA-8460-FB87834695DF}"/>
                </a:ext>
              </a:extLst>
            </p:cNvPr>
            <p:cNvSpPr/>
            <p:nvPr/>
          </p:nvSpPr>
          <p:spPr bwMode="ltGray">
            <a:xfrm>
              <a:off x="3751853"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1" name="Freeform: Shape 13330">
              <a:extLst>
                <a:ext uri="{FF2B5EF4-FFF2-40B4-BE49-F238E27FC236}">
                  <a16:creationId xmlns:a16="http://schemas.microsoft.com/office/drawing/2014/main" id="{A13C6F26-AEFE-4E25-8647-DE49638CB007}"/>
                </a:ext>
              </a:extLst>
            </p:cNvPr>
            <p:cNvSpPr/>
            <p:nvPr/>
          </p:nvSpPr>
          <p:spPr bwMode="ltGray">
            <a:xfrm>
              <a:off x="3076492"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2" name="Freeform: Shape 13331">
              <a:extLst>
                <a:ext uri="{FF2B5EF4-FFF2-40B4-BE49-F238E27FC236}">
                  <a16:creationId xmlns:a16="http://schemas.microsoft.com/office/drawing/2014/main" id="{8DF3C697-10A6-4CA7-9BC0-082DAF9399C2}"/>
                </a:ext>
              </a:extLst>
            </p:cNvPr>
            <p:cNvSpPr/>
            <p:nvPr/>
          </p:nvSpPr>
          <p:spPr bwMode="ltGray">
            <a:xfrm>
              <a:off x="4562285"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3" name="Freeform: Shape 13332">
              <a:extLst>
                <a:ext uri="{FF2B5EF4-FFF2-40B4-BE49-F238E27FC236}">
                  <a16:creationId xmlns:a16="http://schemas.microsoft.com/office/drawing/2014/main" id="{33549792-A0AB-43CB-B850-15C05834B05A}"/>
                </a:ext>
              </a:extLst>
            </p:cNvPr>
            <p:cNvSpPr/>
            <p:nvPr/>
          </p:nvSpPr>
          <p:spPr bwMode="ltGray">
            <a:xfrm>
              <a:off x="4427215"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4" name="Freeform: Shape 13333">
              <a:extLst>
                <a:ext uri="{FF2B5EF4-FFF2-40B4-BE49-F238E27FC236}">
                  <a16:creationId xmlns:a16="http://schemas.microsoft.com/office/drawing/2014/main" id="{4193D4AB-E43F-4208-B74B-9BA055EC22E2}"/>
                </a:ext>
              </a:extLst>
            </p:cNvPr>
            <p:cNvSpPr/>
            <p:nvPr/>
          </p:nvSpPr>
          <p:spPr bwMode="ltGray">
            <a:xfrm>
              <a:off x="4292135" y="3122127"/>
              <a:ext cx="80712" cy="17936"/>
            </a:xfrm>
            <a:custGeom>
              <a:avLst/>
              <a:gdLst>
                <a:gd name="connsiteX0" fmla="*/ 7006 w 80711"/>
                <a:gd name="connsiteY0" fmla="*/ 7006 h 17935"/>
                <a:gd name="connsiteX1" fmla="*/ 74555 w 80711"/>
                <a:gd name="connsiteY1" fmla="*/ 7006 h 17935"/>
                <a:gd name="connsiteX2" fmla="*/ 74555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55" y="7006"/>
                  </a:lnTo>
                  <a:lnTo>
                    <a:pt x="74555"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5" name="Freeform: Shape 13334">
              <a:extLst>
                <a:ext uri="{FF2B5EF4-FFF2-40B4-BE49-F238E27FC236}">
                  <a16:creationId xmlns:a16="http://schemas.microsoft.com/office/drawing/2014/main" id="{D4AEADEA-0FED-4A3E-92F1-D38B9FA59DAE}"/>
                </a:ext>
              </a:extLst>
            </p:cNvPr>
            <p:cNvSpPr/>
            <p:nvPr/>
          </p:nvSpPr>
          <p:spPr bwMode="ltGray">
            <a:xfrm>
              <a:off x="3886924"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6" name="Freeform: Shape 13335">
              <a:extLst>
                <a:ext uri="{FF2B5EF4-FFF2-40B4-BE49-F238E27FC236}">
                  <a16:creationId xmlns:a16="http://schemas.microsoft.com/office/drawing/2014/main" id="{AE586CEF-1AD7-41FD-A059-B11AFB7D46B4}"/>
                </a:ext>
              </a:extLst>
            </p:cNvPr>
            <p:cNvSpPr/>
            <p:nvPr/>
          </p:nvSpPr>
          <p:spPr bwMode="ltGray">
            <a:xfrm>
              <a:off x="4697356" y="3122127"/>
              <a:ext cx="47082" cy="17936"/>
            </a:xfrm>
            <a:custGeom>
              <a:avLst/>
              <a:gdLst>
                <a:gd name="connsiteX0" fmla="*/ 7006 w 47081"/>
                <a:gd name="connsiteY0" fmla="*/ 7006 h 17935"/>
                <a:gd name="connsiteX1" fmla="*/ 40356 w 47081"/>
                <a:gd name="connsiteY1" fmla="*/ 7006 h 17935"/>
                <a:gd name="connsiteX2" fmla="*/ 40356 w 47081"/>
                <a:gd name="connsiteY2" fmla="*/ 12639 h 17935"/>
                <a:gd name="connsiteX3" fmla="*/ 7006 w 4708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47081" h="17935">
                  <a:moveTo>
                    <a:pt x="7006" y="7006"/>
                  </a:moveTo>
                  <a:lnTo>
                    <a:pt x="40356" y="7006"/>
                  </a:lnTo>
                  <a:lnTo>
                    <a:pt x="4035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7" name="Freeform: Shape 13336">
              <a:extLst>
                <a:ext uri="{FF2B5EF4-FFF2-40B4-BE49-F238E27FC236}">
                  <a16:creationId xmlns:a16="http://schemas.microsoft.com/office/drawing/2014/main" id="{0DC6C4EF-E2AE-4D16-9A41-67EFC604F02E}"/>
                </a:ext>
              </a:extLst>
            </p:cNvPr>
            <p:cNvSpPr/>
            <p:nvPr/>
          </p:nvSpPr>
          <p:spPr bwMode="ltGray">
            <a:xfrm>
              <a:off x="4157065"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8" name="Freeform: Shape 13337">
              <a:extLst>
                <a:ext uri="{FF2B5EF4-FFF2-40B4-BE49-F238E27FC236}">
                  <a16:creationId xmlns:a16="http://schemas.microsoft.com/office/drawing/2014/main" id="{DECEE376-419F-4EB8-B466-B14ABBE78D27}"/>
                </a:ext>
              </a:extLst>
            </p:cNvPr>
            <p:cNvSpPr/>
            <p:nvPr/>
          </p:nvSpPr>
          <p:spPr bwMode="ltGray">
            <a:xfrm>
              <a:off x="4021994"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39" name="Freeform: Shape 13338">
              <a:extLst>
                <a:ext uri="{FF2B5EF4-FFF2-40B4-BE49-F238E27FC236}">
                  <a16:creationId xmlns:a16="http://schemas.microsoft.com/office/drawing/2014/main" id="{C848B348-8563-4C93-BA40-204C414A8312}"/>
                </a:ext>
              </a:extLst>
            </p:cNvPr>
            <p:cNvSpPr/>
            <p:nvPr/>
          </p:nvSpPr>
          <p:spPr bwMode="ltGray">
            <a:xfrm>
              <a:off x="820687" y="3133383"/>
              <a:ext cx="394590" cy="17936"/>
            </a:xfrm>
            <a:custGeom>
              <a:avLst/>
              <a:gdLst>
                <a:gd name="connsiteX0" fmla="*/ 7006 w 394589"/>
                <a:gd name="connsiteY0" fmla="*/ 7006 h 17935"/>
                <a:gd name="connsiteX1" fmla="*/ 389723 w 394589"/>
                <a:gd name="connsiteY1" fmla="*/ 7006 h 17935"/>
                <a:gd name="connsiteX2" fmla="*/ 389723 w 394589"/>
                <a:gd name="connsiteY2" fmla="*/ 12639 h 17935"/>
                <a:gd name="connsiteX3" fmla="*/ 7006 w 394589"/>
                <a:gd name="connsiteY3" fmla="*/ 12639 h 17935"/>
              </a:gdLst>
              <a:ahLst/>
              <a:cxnLst>
                <a:cxn ang="0">
                  <a:pos x="connsiteX0" y="connsiteY0"/>
                </a:cxn>
                <a:cxn ang="0">
                  <a:pos x="connsiteX1" y="connsiteY1"/>
                </a:cxn>
                <a:cxn ang="0">
                  <a:pos x="connsiteX2" y="connsiteY2"/>
                </a:cxn>
                <a:cxn ang="0">
                  <a:pos x="connsiteX3" y="connsiteY3"/>
                </a:cxn>
              </a:cxnLst>
              <a:rect l="l" t="t" r="r" b="b"/>
              <a:pathLst>
                <a:path w="394589" h="17935">
                  <a:moveTo>
                    <a:pt x="7006" y="7006"/>
                  </a:moveTo>
                  <a:lnTo>
                    <a:pt x="389723" y="7006"/>
                  </a:lnTo>
                  <a:lnTo>
                    <a:pt x="389723"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0" name="Freeform: Shape 13339">
              <a:extLst>
                <a:ext uri="{FF2B5EF4-FFF2-40B4-BE49-F238E27FC236}">
                  <a16:creationId xmlns:a16="http://schemas.microsoft.com/office/drawing/2014/main" id="{173B3AEA-3AA1-4C4B-9E9B-0C4F6D52A5B4}"/>
                </a:ext>
              </a:extLst>
            </p:cNvPr>
            <p:cNvSpPr/>
            <p:nvPr/>
          </p:nvSpPr>
          <p:spPr bwMode="ltGray">
            <a:xfrm>
              <a:off x="4913614" y="3321972"/>
              <a:ext cx="394590" cy="17936"/>
            </a:xfrm>
            <a:custGeom>
              <a:avLst/>
              <a:gdLst>
                <a:gd name="connsiteX0" fmla="*/ 7006 w 394589"/>
                <a:gd name="connsiteY0" fmla="*/ 7006 h 17935"/>
                <a:gd name="connsiteX1" fmla="*/ 389704 w 394589"/>
                <a:gd name="connsiteY1" fmla="*/ 7006 h 17935"/>
                <a:gd name="connsiteX2" fmla="*/ 389704 w 394589"/>
                <a:gd name="connsiteY2" fmla="*/ 12630 h 17935"/>
                <a:gd name="connsiteX3" fmla="*/ 7006 w 394589"/>
                <a:gd name="connsiteY3" fmla="*/ 12630 h 17935"/>
              </a:gdLst>
              <a:ahLst/>
              <a:cxnLst>
                <a:cxn ang="0">
                  <a:pos x="connsiteX0" y="connsiteY0"/>
                </a:cxn>
                <a:cxn ang="0">
                  <a:pos x="connsiteX1" y="connsiteY1"/>
                </a:cxn>
                <a:cxn ang="0">
                  <a:pos x="connsiteX2" y="connsiteY2"/>
                </a:cxn>
                <a:cxn ang="0">
                  <a:pos x="connsiteX3" y="connsiteY3"/>
                </a:cxn>
              </a:cxnLst>
              <a:rect l="l" t="t" r="r" b="b"/>
              <a:pathLst>
                <a:path w="394589" h="17935">
                  <a:moveTo>
                    <a:pt x="7006" y="7006"/>
                  </a:moveTo>
                  <a:lnTo>
                    <a:pt x="389704" y="7006"/>
                  </a:lnTo>
                  <a:lnTo>
                    <a:pt x="389704" y="12630"/>
                  </a:lnTo>
                  <a:lnTo>
                    <a:pt x="7006" y="126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1" name="Freeform: Shape 13340">
              <a:extLst>
                <a:ext uri="{FF2B5EF4-FFF2-40B4-BE49-F238E27FC236}">
                  <a16:creationId xmlns:a16="http://schemas.microsoft.com/office/drawing/2014/main" id="{59C858C6-4C7C-4942-8233-FD5808A15173}"/>
                </a:ext>
              </a:extLst>
            </p:cNvPr>
            <p:cNvSpPr/>
            <p:nvPr/>
          </p:nvSpPr>
          <p:spPr bwMode="ltGray">
            <a:xfrm>
              <a:off x="1349731" y="3124938"/>
              <a:ext cx="134519" cy="35872"/>
            </a:xfrm>
            <a:custGeom>
              <a:avLst/>
              <a:gdLst>
                <a:gd name="connsiteX0" fmla="*/ 7006 w 134519"/>
                <a:gd name="connsiteY0" fmla="*/ 7006 h 35871"/>
                <a:gd name="connsiteX1" fmla="*/ 128942 w 134519"/>
                <a:gd name="connsiteY1" fmla="*/ 7006 h 35871"/>
                <a:gd name="connsiteX2" fmla="*/ 128942 w 134519"/>
                <a:gd name="connsiteY2" fmla="*/ 29520 h 35871"/>
                <a:gd name="connsiteX3" fmla="*/ 7006 w 134519"/>
                <a:gd name="connsiteY3" fmla="*/ 29520 h 35871"/>
              </a:gdLst>
              <a:ahLst/>
              <a:cxnLst>
                <a:cxn ang="0">
                  <a:pos x="connsiteX0" y="connsiteY0"/>
                </a:cxn>
                <a:cxn ang="0">
                  <a:pos x="connsiteX1" y="connsiteY1"/>
                </a:cxn>
                <a:cxn ang="0">
                  <a:pos x="connsiteX2" y="connsiteY2"/>
                </a:cxn>
                <a:cxn ang="0">
                  <a:pos x="connsiteX3" y="connsiteY3"/>
                </a:cxn>
              </a:cxnLst>
              <a:rect l="l" t="t" r="r" b="b"/>
              <a:pathLst>
                <a:path w="134519" h="35871">
                  <a:moveTo>
                    <a:pt x="7006" y="7006"/>
                  </a:moveTo>
                  <a:lnTo>
                    <a:pt x="128942" y="7006"/>
                  </a:lnTo>
                  <a:lnTo>
                    <a:pt x="128942" y="29520"/>
                  </a:lnTo>
                  <a:lnTo>
                    <a:pt x="7006" y="2952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2" name="Freeform: Shape 13341">
              <a:extLst>
                <a:ext uri="{FF2B5EF4-FFF2-40B4-BE49-F238E27FC236}">
                  <a16:creationId xmlns:a16="http://schemas.microsoft.com/office/drawing/2014/main" id="{BE7E516B-108C-4304-8090-13DB79190654}"/>
                </a:ext>
              </a:extLst>
            </p:cNvPr>
            <p:cNvSpPr/>
            <p:nvPr/>
          </p:nvSpPr>
          <p:spPr bwMode="ltGray">
            <a:xfrm>
              <a:off x="6098682" y="3946104"/>
              <a:ext cx="134519" cy="35872"/>
            </a:xfrm>
            <a:custGeom>
              <a:avLst/>
              <a:gdLst>
                <a:gd name="connsiteX0" fmla="*/ 7006 w 134519"/>
                <a:gd name="connsiteY0" fmla="*/ 7006 h 35871"/>
                <a:gd name="connsiteX1" fmla="*/ 128952 w 134519"/>
                <a:gd name="connsiteY1" fmla="*/ 7006 h 35871"/>
                <a:gd name="connsiteX2" fmla="*/ 128952 w 134519"/>
                <a:gd name="connsiteY2" fmla="*/ 29510 h 35871"/>
                <a:gd name="connsiteX3" fmla="*/ 7006 w 134519"/>
                <a:gd name="connsiteY3" fmla="*/ 29510 h 35871"/>
              </a:gdLst>
              <a:ahLst/>
              <a:cxnLst>
                <a:cxn ang="0">
                  <a:pos x="connsiteX0" y="connsiteY0"/>
                </a:cxn>
                <a:cxn ang="0">
                  <a:pos x="connsiteX1" y="connsiteY1"/>
                </a:cxn>
                <a:cxn ang="0">
                  <a:pos x="connsiteX2" y="connsiteY2"/>
                </a:cxn>
                <a:cxn ang="0">
                  <a:pos x="connsiteX3" y="connsiteY3"/>
                </a:cxn>
              </a:cxnLst>
              <a:rect l="l" t="t" r="r" b="b"/>
              <a:pathLst>
                <a:path w="134519" h="35871">
                  <a:moveTo>
                    <a:pt x="7006" y="7006"/>
                  </a:moveTo>
                  <a:lnTo>
                    <a:pt x="128952" y="7006"/>
                  </a:lnTo>
                  <a:lnTo>
                    <a:pt x="128952" y="29510"/>
                  </a:lnTo>
                  <a:lnTo>
                    <a:pt x="7006" y="2951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3" name="Freeform: Shape 13342">
              <a:extLst>
                <a:ext uri="{FF2B5EF4-FFF2-40B4-BE49-F238E27FC236}">
                  <a16:creationId xmlns:a16="http://schemas.microsoft.com/office/drawing/2014/main" id="{4102C674-B163-4434-97EC-E7B85BE4F86F}"/>
                </a:ext>
              </a:extLst>
            </p:cNvPr>
            <p:cNvSpPr/>
            <p:nvPr/>
          </p:nvSpPr>
          <p:spPr bwMode="ltGray">
            <a:xfrm>
              <a:off x="-2860" y="2172719"/>
              <a:ext cx="2315972" cy="755549"/>
            </a:xfrm>
            <a:custGeom>
              <a:avLst/>
              <a:gdLst>
                <a:gd name="connsiteX0" fmla="*/ 1997275 w 2315971"/>
                <a:gd name="connsiteY0" fmla="*/ 130829 h 755549"/>
                <a:gd name="connsiteX1" fmla="*/ 989576 w 2315971"/>
                <a:gd name="connsiteY1" fmla="*/ 130829 h 755549"/>
                <a:gd name="connsiteX2" fmla="*/ 854506 w 2315971"/>
                <a:gd name="connsiteY2" fmla="*/ 332020 h 755549"/>
                <a:gd name="connsiteX3" fmla="*/ 748366 w 2315971"/>
                <a:gd name="connsiteY3" fmla="*/ 332020 h 755549"/>
                <a:gd name="connsiteX4" fmla="*/ 337064 w 2315971"/>
                <a:gd name="connsiteY4" fmla="*/ 743331 h 755549"/>
                <a:gd name="connsiteX5" fmla="*/ 7006 w 2315971"/>
                <a:gd name="connsiteY5" fmla="*/ 743331 h 755549"/>
                <a:gd name="connsiteX6" fmla="*/ 7006 w 2315971"/>
                <a:gd name="connsiteY6" fmla="*/ 748955 h 755549"/>
                <a:gd name="connsiteX7" fmla="*/ 339400 w 2315971"/>
                <a:gd name="connsiteY7" fmla="*/ 748955 h 755549"/>
                <a:gd name="connsiteX8" fmla="*/ 750702 w 2315971"/>
                <a:gd name="connsiteY8" fmla="*/ 337653 h 755549"/>
                <a:gd name="connsiteX9" fmla="*/ 857504 w 2315971"/>
                <a:gd name="connsiteY9" fmla="*/ 337653 h 755549"/>
                <a:gd name="connsiteX10" fmla="*/ 992584 w 2315971"/>
                <a:gd name="connsiteY10" fmla="*/ 136453 h 755549"/>
                <a:gd name="connsiteX11" fmla="*/ 1999713 w 2315971"/>
                <a:gd name="connsiteY11" fmla="*/ 136453 h 755549"/>
                <a:gd name="connsiteX12" fmla="*/ 2116017 w 2315971"/>
                <a:gd name="connsiteY12" fmla="*/ 12639 h 755549"/>
                <a:gd name="connsiteX13" fmla="*/ 2310845 w 2315971"/>
                <a:gd name="connsiteY13" fmla="*/ 12639 h 755549"/>
                <a:gd name="connsiteX14" fmla="*/ 2310845 w 2315971"/>
                <a:gd name="connsiteY14" fmla="*/ 7006 h 755549"/>
                <a:gd name="connsiteX15" fmla="*/ 2113588 w 2315971"/>
                <a:gd name="connsiteY15" fmla="*/ 7006 h 755549"/>
                <a:gd name="connsiteX16" fmla="*/ 1997275 w 2315971"/>
                <a:gd name="connsiteY16" fmla="*/ 130829 h 75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15971" h="755549">
                  <a:moveTo>
                    <a:pt x="1997275" y="130829"/>
                  </a:moveTo>
                  <a:lnTo>
                    <a:pt x="989576" y="130829"/>
                  </a:lnTo>
                  <a:lnTo>
                    <a:pt x="854506" y="332020"/>
                  </a:lnTo>
                  <a:lnTo>
                    <a:pt x="748366" y="332020"/>
                  </a:lnTo>
                  <a:lnTo>
                    <a:pt x="337064" y="743331"/>
                  </a:lnTo>
                  <a:lnTo>
                    <a:pt x="7006" y="743331"/>
                  </a:lnTo>
                  <a:lnTo>
                    <a:pt x="7006" y="748955"/>
                  </a:lnTo>
                  <a:lnTo>
                    <a:pt x="339400" y="748955"/>
                  </a:lnTo>
                  <a:lnTo>
                    <a:pt x="750702" y="337653"/>
                  </a:lnTo>
                  <a:lnTo>
                    <a:pt x="857504" y="337653"/>
                  </a:lnTo>
                  <a:lnTo>
                    <a:pt x="992584" y="136453"/>
                  </a:lnTo>
                  <a:lnTo>
                    <a:pt x="1999713" y="136453"/>
                  </a:lnTo>
                  <a:lnTo>
                    <a:pt x="2116017" y="12639"/>
                  </a:lnTo>
                  <a:lnTo>
                    <a:pt x="2310845" y="12639"/>
                  </a:lnTo>
                  <a:lnTo>
                    <a:pt x="2310845" y="7006"/>
                  </a:lnTo>
                  <a:lnTo>
                    <a:pt x="2113588" y="7006"/>
                  </a:lnTo>
                  <a:lnTo>
                    <a:pt x="1997275" y="13082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4" name="Freeform: Shape 13343">
              <a:extLst>
                <a:ext uri="{FF2B5EF4-FFF2-40B4-BE49-F238E27FC236}">
                  <a16:creationId xmlns:a16="http://schemas.microsoft.com/office/drawing/2014/main" id="{3C889846-2A98-4A8B-8943-BE4FE14465DA}"/>
                </a:ext>
              </a:extLst>
            </p:cNvPr>
            <p:cNvSpPr/>
            <p:nvPr/>
          </p:nvSpPr>
          <p:spPr bwMode="ltGray">
            <a:xfrm>
              <a:off x="3063610" y="2093671"/>
              <a:ext cx="419251" cy="96405"/>
            </a:xfrm>
            <a:custGeom>
              <a:avLst/>
              <a:gdLst>
                <a:gd name="connsiteX0" fmla="*/ 184805 w 419251"/>
                <a:gd name="connsiteY0" fmla="*/ 80151 h 96405"/>
                <a:gd name="connsiteX1" fmla="*/ 7006 w 419251"/>
                <a:gd name="connsiteY1" fmla="*/ 80151 h 96405"/>
                <a:gd name="connsiteX2" fmla="*/ 7006 w 419251"/>
                <a:gd name="connsiteY2" fmla="*/ 91417 h 96405"/>
                <a:gd name="connsiteX3" fmla="*/ 189467 w 419251"/>
                <a:gd name="connsiteY3" fmla="*/ 91417 h 96405"/>
                <a:gd name="connsiteX4" fmla="*/ 262612 w 419251"/>
                <a:gd name="connsiteY4" fmla="*/ 18263 h 96405"/>
                <a:gd name="connsiteX5" fmla="*/ 414105 w 419251"/>
                <a:gd name="connsiteY5" fmla="*/ 18263 h 96405"/>
                <a:gd name="connsiteX6" fmla="*/ 414105 w 419251"/>
                <a:gd name="connsiteY6" fmla="*/ 7006 h 96405"/>
                <a:gd name="connsiteX7" fmla="*/ 257950 w 419251"/>
                <a:gd name="connsiteY7" fmla="*/ 7006 h 96405"/>
                <a:gd name="connsiteX8" fmla="*/ 184805 w 419251"/>
                <a:gd name="connsiteY8" fmla="*/ 80151 h 96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9251" h="96405">
                  <a:moveTo>
                    <a:pt x="184805" y="80151"/>
                  </a:moveTo>
                  <a:lnTo>
                    <a:pt x="7006" y="80151"/>
                  </a:lnTo>
                  <a:lnTo>
                    <a:pt x="7006" y="91417"/>
                  </a:lnTo>
                  <a:lnTo>
                    <a:pt x="189467" y="91417"/>
                  </a:lnTo>
                  <a:lnTo>
                    <a:pt x="262612" y="18263"/>
                  </a:lnTo>
                  <a:lnTo>
                    <a:pt x="414105" y="18263"/>
                  </a:lnTo>
                  <a:lnTo>
                    <a:pt x="414105" y="7006"/>
                  </a:lnTo>
                  <a:lnTo>
                    <a:pt x="257950" y="7006"/>
                  </a:lnTo>
                  <a:lnTo>
                    <a:pt x="184805" y="8015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5" name="Freeform: Shape 13344">
              <a:extLst>
                <a:ext uri="{FF2B5EF4-FFF2-40B4-BE49-F238E27FC236}">
                  <a16:creationId xmlns:a16="http://schemas.microsoft.com/office/drawing/2014/main" id="{E318DFBE-F667-47A5-A7C3-D580A0B27468}"/>
                </a:ext>
              </a:extLst>
            </p:cNvPr>
            <p:cNvSpPr/>
            <p:nvPr/>
          </p:nvSpPr>
          <p:spPr bwMode="ltGray">
            <a:xfrm>
              <a:off x="6010105" y="3344308"/>
              <a:ext cx="1549213" cy="1358644"/>
            </a:xfrm>
            <a:custGeom>
              <a:avLst/>
              <a:gdLst>
                <a:gd name="connsiteX0" fmla="*/ 1155278 w 1549212"/>
                <a:gd name="connsiteY0" fmla="*/ 1353442 h 1358643"/>
                <a:gd name="connsiteX1" fmla="*/ 377906 w 1549212"/>
                <a:gd name="connsiteY1" fmla="*/ 1353442 h 1358643"/>
                <a:gd name="connsiteX2" fmla="*/ 7006 w 1549212"/>
                <a:gd name="connsiteY2" fmla="*/ 711018 h 1358643"/>
                <a:gd name="connsiteX3" fmla="*/ 59516 w 1549212"/>
                <a:gd name="connsiteY3" fmla="*/ 620059 h 1358643"/>
                <a:gd name="connsiteX4" fmla="*/ 41748 w 1549212"/>
                <a:gd name="connsiteY4" fmla="*/ 589269 h 1358643"/>
                <a:gd name="connsiteX5" fmla="*/ 377906 w 1549212"/>
                <a:gd name="connsiteY5" fmla="*/ 7006 h 1358643"/>
                <a:gd name="connsiteX6" fmla="*/ 1155278 w 1549212"/>
                <a:gd name="connsiteY6" fmla="*/ 7006 h 1358643"/>
                <a:gd name="connsiteX7" fmla="*/ 1543955 w 1549212"/>
                <a:gd name="connsiteY7" fmla="*/ 680228 h 1358643"/>
                <a:gd name="connsiteX8" fmla="*/ 1155278 w 1549212"/>
                <a:gd name="connsiteY8" fmla="*/ 1353442 h 1358643"/>
                <a:gd name="connsiteX9" fmla="*/ 110231 w 1549212"/>
                <a:gd name="connsiteY9" fmla="*/ 631306 h 1358643"/>
                <a:gd name="connsiteX10" fmla="*/ 81992 w 1549212"/>
                <a:gd name="connsiteY10" fmla="*/ 680228 h 1358643"/>
                <a:gd name="connsiteX11" fmla="*/ 424296 w 1549212"/>
                <a:gd name="connsiteY11" fmla="*/ 1273113 h 1358643"/>
                <a:gd name="connsiteX12" fmla="*/ 1108897 w 1549212"/>
                <a:gd name="connsiteY12" fmla="*/ 1273113 h 1358643"/>
                <a:gd name="connsiteX13" fmla="*/ 1451183 w 1549212"/>
                <a:gd name="connsiteY13" fmla="*/ 680228 h 1358643"/>
                <a:gd name="connsiteX14" fmla="*/ 1108897 w 1549212"/>
                <a:gd name="connsiteY14" fmla="*/ 87344 h 1358643"/>
                <a:gd name="connsiteX15" fmla="*/ 424296 w 1549212"/>
                <a:gd name="connsiteY15" fmla="*/ 87344 h 1358643"/>
                <a:gd name="connsiteX16" fmla="*/ 123226 w 1549212"/>
                <a:gd name="connsiteY16" fmla="*/ 608802 h 1358643"/>
                <a:gd name="connsiteX17" fmla="*/ 95583 w 1549212"/>
                <a:gd name="connsiteY17" fmla="*/ 608802 h 1358643"/>
                <a:gd name="connsiteX18" fmla="*/ 95583 w 1549212"/>
                <a:gd name="connsiteY18" fmla="*/ 631306 h 1358643"/>
                <a:gd name="connsiteX19" fmla="*/ 110231 w 1549212"/>
                <a:gd name="connsiteY19" fmla="*/ 631306 h 1358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49212" h="1358643">
                  <a:moveTo>
                    <a:pt x="1155278" y="1353442"/>
                  </a:moveTo>
                  <a:lnTo>
                    <a:pt x="377906" y="1353442"/>
                  </a:lnTo>
                  <a:lnTo>
                    <a:pt x="7006" y="711018"/>
                  </a:lnTo>
                  <a:lnTo>
                    <a:pt x="59516" y="620059"/>
                  </a:lnTo>
                  <a:lnTo>
                    <a:pt x="41748" y="589269"/>
                  </a:lnTo>
                  <a:lnTo>
                    <a:pt x="377906" y="7006"/>
                  </a:lnTo>
                  <a:lnTo>
                    <a:pt x="1155278" y="7006"/>
                  </a:lnTo>
                  <a:lnTo>
                    <a:pt x="1543955" y="680228"/>
                  </a:lnTo>
                  <a:lnTo>
                    <a:pt x="1155278" y="1353442"/>
                  </a:lnTo>
                  <a:close/>
                  <a:moveTo>
                    <a:pt x="110231" y="631306"/>
                  </a:moveTo>
                  <a:lnTo>
                    <a:pt x="81992" y="680228"/>
                  </a:lnTo>
                  <a:lnTo>
                    <a:pt x="424296" y="1273113"/>
                  </a:lnTo>
                  <a:lnTo>
                    <a:pt x="1108897" y="1273113"/>
                  </a:lnTo>
                  <a:lnTo>
                    <a:pt x="1451183" y="680228"/>
                  </a:lnTo>
                  <a:lnTo>
                    <a:pt x="1108897" y="87344"/>
                  </a:lnTo>
                  <a:lnTo>
                    <a:pt x="424296" y="87344"/>
                  </a:lnTo>
                  <a:lnTo>
                    <a:pt x="123226" y="608802"/>
                  </a:lnTo>
                  <a:lnTo>
                    <a:pt x="95583" y="608802"/>
                  </a:lnTo>
                  <a:lnTo>
                    <a:pt x="95583" y="631306"/>
                  </a:lnTo>
                  <a:lnTo>
                    <a:pt x="110231" y="631306"/>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6" name="Freeform: Shape 13345">
              <a:extLst>
                <a:ext uri="{FF2B5EF4-FFF2-40B4-BE49-F238E27FC236}">
                  <a16:creationId xmlns:a16="http://schemas.microsoft.com/office/drawing/2014/main" id="{7331F67B-9AEF-4556-801B-6DACF75CBA70}"/>
                </a:ext>
              </a:extLst>
            </p:cNvPr>
            <p:cNvSpPr/>
            <p:nvPr/>
          </p:nvSpPr>
          <p:spPr bwMode="ltGray">
            <a:xfrm>
              <a:off x="5992328" y="3926571"/>
              <a:ext cx="82953" cy="134519"/>
            </a:xfrm>
            <a:custGeom>
              <a:avLst/>
              <a:gdLst>
                <a:gd name="connsiteX0" fmla="*/ 24783 w 82953"/>
                <a:gd name="connsiteY0" fmla="*/ 128755 h 134519"/>
                <a:gd name="connsiteX1" fmla="*/ 7006 w 82953"/>
                <a:gd name="connsiteY1" fmla="*/ 97966 h 134519"/>
                <a:gd name="connsiteX2" fmla="*/ 59525 w 82953"/>
                <a:gd name="connsiteY2" fmla="*/ 7006 h 134519"/>
                <a:gd name="connsiteX3" fmla="*/ 77293 w 82953"/>
                <a:gd name="connsiteY3" fmla="*/ 37796 h 134519"/>
                <a:gd name="connsiteX4" fmla="*/ 24783 w 82953"/>
                <a:gd name="connsiteY4" fmla="*/ 128755 h 134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53" h="134519">
                  <a:moveTo>
                    <a:pt x="24783" y="128755"/>
                  </a:moveTo>
                  <a:lnTo>
                    <a:pt x="7006" y="97966"/>
                  </a:lnTo>
                  <a:lnTo>
                    <a:pt x="59525" y="7006"/>
                  </a:lnTo>
                  <a:lnTo>
                    <a:pt x="77293" y="37796"/>
                  </a:lnTo>
                  <a:lnTo>
                    <a:pt x="24783" y="128755"/>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7" name="Freeform: Shape 13346">
              <a:extLst>
                <a:ext uri="{FF2B5EF4-FFF2-40B4-BE49-F238E27FC236}">
                  <a16:creationId xmlns:a16="http://schemas.microsoft.com/office/drawing/2014/main" id="{91DC5730-B161-4B50-801D-5C35D4ACF1E4}"/>
                </a:ext>
              </a:extLst>
            </p:cNvPr>
            <p:cNvSpPr/>
            <p:nvPr/>
          </p:nvSpPr>
          <p:spPr bwMode="ltGray">
            <a:xfrm>
              <a:off x="6098682" y="3946104"/>
              <a:ext cx="40356" cy="35872"/>
            </a:xfrm>
            <a:custGeom>
              <a:avLst/>
              <a:gdLst>
                <a:gd name="connsiteX0" fmla="*/ 21654 w 40355"/>
                <a:gd name="connsiteY0" fmla="*/ 29510 h 35871"/>
                <a:gd name="connsiteX1" fmla="*/ 7006 w 40355"/>
                <a:gd name="connsiteY1" fmla="*/ 29510 h 35871"/>
                <a:gd name="connsiteX2" fmla="*/ 7006 w 40355"/>
                <a:gd name="connsiteY2" fmla="*/ 7006 h 35871"/>
                <a:gd name="connsiteX3" fmla="*/ 34648 w 40355"/>
                <a:gd name="connsiteY3" fmla="*/ 7006 h 35871"/>
                <a:gd name="connsiteX4" fmla="*/ 21654 w 40355"/>
                <a:gd name="connsiteY4" fmla="*/ 29510 h 35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55" h="35871">
                  <a:moveTo>
                    <a:pt x="21654" y="29510"/>
                  </a:moveTo>
                  <a:lnTo>
                    <a:pt x="7006" y="29510"/>
                  </a:lnTo>
                  <a:lnTo>
                    <a:pt x="7006" y="7006"/>
                  </a:lnTo>
                  <a:lnTo>
                    <a:pt x="34648" y="7006"/>
                  </a:lnTo>
                  <a:lnTo>
                    <a:pt x="21654" y="2951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8" name="Freeform: Shape 13347">
              <a:extLst>
                <a:ext uri="{FF2B5EF4-FFF2-40B4-BE49-F238E27FC236}">
                  <a16:creationId xmlns:a16="http://schemas.microsoft.com/office/drawing/2014/main" id="{A902CE54-F709-4C59-A132-D9175B4E9CE5}"/>
                </a:ext>
              </a:extLst>
            </p:cNvPr>
            <p:cNvSpPr/>
            <p:nvPr/>
          </p:nvSpPr>
          <p:spPr bwMode="ltGray">
            <a:xfrm>
              <a:off x="4352463" y="1673083"/>
              <a:ext cx="1163591" cy="1008894"/>
            </a:xfrm>
            <a:custGeom>
              <a:avLst/>
              <a:gdLst>
                <a:gd name="connsiteX0" fmla="*/ 869807 w 1163590"/>
                <a:gd name="connsiteY0" fmla="*/ 1003280 h 1008893"/>
                <a:gd name="connsiteX1" fmla="*/ 294607 w 1163590"/>
                <a:gd name="connsiteY1" fmla="*/ 1003280 h 1008893"/>
                <a:gd name="connsiteX2" fmla="*/ 210028 w 1163590"/>
                <a:gd name="connsiteY2" fmla="*/ 856776 h 1008893"/>
                <a:gd name="connsiteX3" fmla="*/ 342538 w 1163590"/>
                <a:gd name="connsiteY3" fmla="*/ 856776 h 1008893"/>
                <a:gd name="connsiteX4" fmla="*/ 360867 w 1163590"/>
                <a:gd name="connsiteY4" fmla="*/ 888519 h 1008893"/>
                <a:gd name="connsiteX5" fmla="*/ 803547 w 1163590"/>
                <a:gd name="connsiteY5" fmla="*/ 888519 h 1008893"/>
                <a:gd name="connsiteX6" fmla="*/ 821876 w 1163590"/>
                <a:gd name="connsiteY6" fmla="*/ 856776 h 1008893"/>
                <a:gd name="connsiteX7" fmla="*/ 954396 w 1163590"/>
                <a:gd name="connsiteY7" fmla="*/ 856776 h 1008893"/>
                <a:gd name="connsiteX8" fmla="*/ 869807 w 1163590"/>
                <a:gd name="connsiteY8" fmla="*/ 1003280 h 1008893"/>
                <a:gd name="connsiteX9" fmla="*/ 959281 w 1163590"/>
                <a:gd name="connsiteY9" fmla="*/ 848312 h 1008893"/>
                <a:gd name="connsiteX10" fmla="*/ 826761 w 1163590"/>
                <a:gd name="connsiteY10" fmla="*/ 848312 h 1008893"/>
                <a:gd name="connsiteX11" fmla="*/ 1024897 w 1163590"/>
                <a:gd name="connsiteY11" fmla="*/ 505148 h 1008893"/>
                <a:gd name="connsiteX12" fmla="*/ 803547 w 1163590"/>
                <a:gd name="connsiteY12" fmla="*/ 121777 h 1008893"/>
                <a:gd name="connsiteX13" fmla="*/ 360867 w 1163590"/>
                <a:gd name="connsiteY13" fmla="*/ 121777 h 1008893"/>
                <a:gd name="connsiteX14" fmla="*/ 139526 w 1163590"/>
                <a:gd name="connsiteY14" fmla="*/ 505148 h 1008893"/>
                <a:gd name="connsiteX15" fmla="*/ 337653 w 1163590"/>
                <a:gd name="connsiteY15" fmla="*/ 848312 h 1008893"/>
                <a:gd name="connsiteX16" fmla="*/ 205133 w 1163590"/>
                <a:gd name="connsiteY16" fmla="*/ 848312 h 1008893"/>
                <a:gd name="connsiteX17" fmla="*/ 7006 w 1163590"/>
                <a:gd name="connsiteY17" fmla="*/ 505148 h 1008893"/>
                <a:gd name="connsiteX18" fmla="*/ 294607 w 1163590"/>
                <a:gd name="connsiteY18" fmla="*/ 7006 h 1008893"/>
                <a:gd name="connsiteX19" fmla="*/ 869807 w 1163590"/>
                <a:gd name="connsiteY19" fmla="*/ 7006 h 1008893"/>
                <a:gd name="connsiteX20" fmla="*/ 1157408 w 1163590"/>
                <a:gd name="connsiteY20" fmla="*/ 505148 h 1008893"/>
                <a:gd name="connsiteX21" fmla="*/ 959281 w 1163590"/>
                <a:gd name="connsiteY21" fmla="*/ 848312 h 1008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63590" h="1008893">
                  <a:moveTo>
                    <a:pt x="869807" y="1003280"/>
                  </a:moveTo>
                  <a:lnTo>
                    <a:pt x="294607" y="1003280"/>
                  </a:lnTo>
                  <a:lnTo>
                    <a:pt x="210028" y="856776"/>
                  </a:lnTo>
                  <a:lnTo>
                    <a:pt x="342538" y="856776"/>
                  </a:lnTo>
                  <a:lnTo>
                    <a:pt x="360867" y="888519"/>
                  </a:lnTo>
                  <a:lnTo>
                    <a:pt x="803547" y="888519"/>
                  </a:lnTo>
                  <a:lnTo>
                    <a:pt x="821876" y="856776"/>
                  </a:lnTo>
                  <a:lnTo>
                    <a:pt x="954396" y="856776"/>
                  </a:lnTo>
                  <a:lnTo>
                    <a:pt x="869807" y="1003280"/>
                  </a:lnTo>
                  <a:close/>
                  <a:moveTo>
                    <a:pt x="959281" y="848312"/>
                  </a:moveTo>
                  <a:lnTo>
                    <a:pt x="826761" y="848312"/>
                  </a:lnTo>
                  <a:lnTo>
                    <a:pt x="1024897" y="505148"/>
                  </a:lnTo>
                  <a:lnTo>
                    <a:pt x="803547" y="121777"/>
                  </a:lnTo>
                  <a:lnTo>
                    <a:pt x="360867" y="121777"/>
                  </a:lnTo>
                  <a:lnTo>
                    <a:pt x="139526" y="505148"/>
                  </a:lnTo>
                  <a:lnTo>
                    <a:pt x="337653" y="848312"/>
                  </a:lnTo>
                  <a:lnTo>
                    <a:pt x="205133" y="848312"/>
                  </a:lnTo>
                  <a:lnTo>
                    <a:pt x="7006" y="505148"/>
                  </a:lnTo>
                  <a:lnTo>
                    <a:pt x="294607" y="7006"/>
                  </a:lnTo>
                  <a:lnTo>
                    <a:pt x="869807" y="7006"/>
                  </a:lnTo>
                  <a:lnTo>
                    <a:pt x="1157408" y="505148"/>
                  </a:lnTo>
                  <a:lnTo>
                    <a:pt x="959281" y="848312"/>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49" name="Freeform: Shape 13348">
              <a:extLst>
                <a:ext uri="{FF2B5EF4-FFF2-40B4-BE49-F238E27FC236}">
                  <a16:creationId xmlns:a16="http://schemas.microsoft.com/office/drawing/2014/main" id="{1F673CD9-9D6E-4396-ADA6-42EE6807D6FE}"/>
                </a:ext>
              </a:extLst>
            </p:cNvPr>
            <p:cNvSpPr/>
            <p:nvPr/>
          </p:nvSpPr>
          <p:spPr bwMode="ltGray">
            <a:xfrm>
              <a:off x="4550590" y="2514389"/>
              <a:ext cx="766759" cy="22420"/>
            </a:xfrm>
            <a:custGeom>
              <a:avLst/>
              <a:gdLst>
                <a:gd name="connsiteX0" fmla="*/ 756269 w 766759"/>
                <a:gd name="connsiteY0" fmla="*/ 15470 h 22419"/>
                <a:gd name="connsiteX1" fmla="*/ 623749 w 766759"/>
                <a:gd name="connsiteY1" fmla="*/ 15470 h 22419"/>
                <a:gd name="connsiteX2" fmla="*/ 628635 w 766759"/>
                <a:gd name="connsiteY2" fmla="*/ 7006 h 22419"/>
                <a:gd name="connsiteX3" fmla="*/ 761155 w 766759"/>
                <a:gd name="connsiteY3" fmla="*/ 7006 h 22419"/>
                <a:gd name="connsiteX4" fmla="*/ 756269 w 766759"/>
                <a:gd name="connsiteY4" fmla="*/ 15470 h 22419"/>
                <a:gd name="connsiteX5" fmla="*/ 144412 w 766759"/>
                <a:gd name="connsiteY5" fmla="*/ 15470 h 22419"/>
                <a:gd name="connsiteX6" fmla="*/ 11901 w 766759"/>
                <a:gd name="connsiteY6" fmla="*/ 15470 h 22419"/>
                <a:gd name="connsiteX7" fmla="*/ 7006 w 766759"/>
                <a:gd name="connsiteY7" fmla="*/ 7006 h 22419"/>
                <a:gd name="connsiteX8" fmla="*/ 139526 w 766759"/>
                <a:gd name="connsiteY8" fmla="*/ 7006 h 22419"/>
                <a:gd name="connsiteX9" fmla="*/ 144412 w 766759"/>
                <a:gd name="connsiteY9" fmla="*/ 15470 h 2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6759" h="22419">
                  <a:moveTo>
                    <a:pt x="756269" y="15470"/>
                  </a:moveTo>
                  <a:lnTo>
                    <a:pt x="623749" y="15470"/>
                  </a:lnTo>
                  <a:lnTo>
                    <a:pt x="628635" y="7006"/>
                  </a:lnTo>
                  <a:lnTo>
                    <a:pt x="761155" y="7006"/>
                  </a:lnTo>
                  <a:lnTo>
                    <a:pt x="756269" y="15470"/>
                  </a:lnTo>
                  <a:close/>
                  <a:moveTo>
                    <a:pt x="144412" y="15470"/>
                  </a:moveTo>
                  <a:lnTo>
                    <a:pt x="11901" y="15470"/>
                  </a:lnTo>
                  <a:lnTo>
                    <a:pt x="7006" y="7006"/>
                  </a:lnTo>
                  <a:lnTo>
                    <a:pt x="139526" y="7006"/>
                  </a:lnTo>
                  <a:lnTo>
                    <a:pt x="144412" y="1547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0" name="Freeform: Shape 13349">
              <a:extLst>
                <a:ext uri="{FF2B5EF4-FFF2-40B4-BE49-F238E27FC236}">
                  <a16:creationId xmlns:a16="http://schemas.microsoft.com/office/drawing/2014/main" id="{CE263E70-2187-4562-AA99-6586376B8012}"/>
                </a:ext>
              </a:extLst>
            </p:cNvPr>
            <p:cNvSpPr/>
            <p:nvPr/>
          </p:nvSpPr>
          <p:spPr bwMode="ltGray">
            <a:xfrm>
              <a:off x="7779744" y="1366846"/>
              <a:ext cx="618788" cy="618788"/>
            </a:xfrm>
            <a:custGeom>
              <a:avLst/>
              <a:gdLst>
                <a:gd name="connsiteX0" fmla="*/ 310319 w 618788"/>
                <a:gd name="connsiteY0" fmla="*/ 613632 h 618788"/>
                <a:gd name="connsiteX1" fmla="*/ 7006 w 618788"/>
                <a:gd name="connsiteY1" fmla="*/ 310319 h 618788"/>
                <a:gd name="connsiteX2" fmla="*/ 310319 w 618788"/>
                <a:gd name="connsiteY2" fmla="*/ 7006 h 618788"/>
                <a:gd name="connsiteX3" fmla="*/ 613632 w 618788"/>
                <a:gd name="connsiteY3" fmla="*/ 310319 h 618788"/>
                <a:gd name="connsiteX4" fmla="*/ 310319 w 618788"/>
                <a:gd name="connsiteY4" fmla="*/ 613632 h 618788"/>
                <a:gd name="connsiteX5" fmla="*/ 310319 w 618788"/>
                <a:gd name="connsiteY5" fmla="*/ 64382 h 618788"/>
                <a:gd name="connsiteX6" fmla="*/ 64392 w 618788"/>
                <a:gd name="connsiteY6" fmla="*/ 310319 h 618788"/>
                <a:gd name="connsiteX7" fmla="*/ 310319 w 618788"/>
                <a:gd name="connsiteY7" fmla="*/ 556247 h 618788"/>
                <a:gd name="connsiteX8" fmla="*/ 556246 w 618788"/>
                <a:gd name="connsiteY8" fmla="*/ 310319 h 618788"/>
                <a:gd name="connsiteX9" fmla="*/ 310319 w 618788"/>
                <a:gd name="connsiteY9" fmla="*/ 64382 h 618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8788" h="618788">
                  <a:moveTo>
                    <a:pt x="310319" y="613632"/>
                  </a:moveTo>
                  <a:cubicBezTo>
                    <a:pt x="143067" y="613632"/>
                    <a:pt x="7006" y="477572"/>
                    <a:pt x="7006" y="310319"/>
                  </a:cubicBezTo>
                  <a:cubicBezTo>
                    <a:pt x="7006" y="143076"/>
                    <a:pt x="143067" y="7006"/>
                    <a:pt x="310319" y="7006"/>
                  </a:cubicBezTo>
                  <a:cubicBezTo>
                    <a:pt x="477562" y="7006"/>
                    <a:pt x="613632" y="143076"/>
                    <a:pt x="613632" y="310319"/>
                  </a:cubicBezTo>
                  <a:cubicBezTo>
                    <a:pt x="613632" y="477572"/>
                    <a:pt x="477562" y="613632"/>
                    <a:pt x="310319" y="613632"/>
                  </a:cubicBezTo>
                  <a:close/>
                  <a:moveTo>
                    <a:pt x="310319" y="64382"/>
                  </a:moveTo>
                  <a:cubicBezTo>
                    <a:pt x="174707" y="64382"/>
                    <a:pt x="64392" y="174707"/>
                    <a:pt x="64392" y="310319"/>
                  </a:cubicBezTo>
                  <a:cubicBezTo>
                    <a:pt x="64392" y="445922"/>
                    <a:pt x="174707" y="556247"/>
                    <a:pt x="310319" y="556247"/>
                  </a:cubicBezTo>
                  <a:cubicBezTo>
                    <a:pt x="445922" y="556247"/>
                    <a:pt x="556246" y="445922"/>
                    <a:pt x="556246" y="310319"/>
                  </a:cubicBezTo>
                  <a:cubicBezTo>
                    <a:pt x="556246" y="174707"/>
                    <a:pt x="445922" y="64382"/>
                    <a:pt x="310319" y="64382"/>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1" name="Freeform: Shape 13350">
              <a:extLst>
                <a:ext uri="{FF2B5EF4-FFF2-40B4-BE49-F238E27FC236}">
                  <a16:creationId xmlns:a16="http://schemas.microsoft.com/office/drawing/2014/main" id="{803CC444-6862-410B-8E89-C553F34D0968}"/>
                </a:ext>
              </a:extLst>
            </p:cNvPr>
            <p:cNvSpPr/>
            <p:nvPr/>
          </p:nvSpPr>
          <p:spPr bwMode="ltGray">
            <a:xfrm>
              <a:off x="6678470" y="4933167"/>
              <a:ext cx="195053" cy="195053"/>
            </a:xfrm>
            <a:custGeom>
              <a:avLst/>
              <a:gdLst>
                <a:gd name="connsiteX0" fmla="*/ 98227 w 195052"/>
                <a:gd name="connsiteY0" fmla="*/ 189429 h 195052"/>
                <a:gd name="connsiteX1" fmla="*/ 7006 w 195052"/>
                <a:gd name="connsiteY1" fmla="*/ 98218 h 195052"/>
                <a:gd name="connsiteX2" fmla="*/ 98227 w 195052"/>
                <a:gd name="connsiteY2" fmla="*/ 7006 h 195052"/>
                <a:gd name="connsiteX3" fmla="*/ 189448 w 195052"/>
                <a:gd name="connsiteY3" fmla="*/ 98218 h 195052"/>
                <a:gd name="connsiteX4" fmla="*/ 98227 w 195052"/>
                <a:gd name="connsiteY4" fmla="*/ 189429 h 195052"/>
                <a:gd name="connsiteX5" fmla="*/ 98227 w 195052"/>
                <a:gd name="connsiteY5" fmla="*/ 24260 h 195052"/>
                <a:gd name="connsiteX6" fmla="*/ 24270 w 195052"/>
                <a:gd name="connsiteY6" fmla="*/ 98218 h 195052"/>
                <a:gd name="connsiteX7" fmla="*/ 98227 w 195052"/>
                <a:gd name="connsiteY7" fmla="*/ 172176 h 195052"/>
                <a:gd name="connsiteX8" fmla="*/ 172185 w 195052"/>
                <a:gd name="connsiteY8" fmla="*/ 98218 h 195052"/>
                <a:gd name="connsiteX9" fmla="*/ 98227 w 195052"/>
                <a:gd name="connsiteY9" fmla="*/ 24260 h 195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052" h="195052">
                  <a:moveTo>
                    <a:pt x="98227" y="189429"/>
                  </a:moveTo>
                  <a:cubicBezTo>
                    <a:pt x="47923" y="189429"/>
                    <a:pt x="7006" y="148522"/>
                    <a:pt x="7006" y="98218"/>
                  </a:cubicBezTo>
                  <a:cubicBezTo>
                    <a:pt x="7006" y="47923"/>
                    <a:pt x="47923" y="7006"/>
                    <a:pt x="98227" y="7006"/>
                  </a:cubicBezTo>
                  <a:cubicBezTo>
                    <a:pt x="148522" y="7006"/>
                    <a:pt x="189448" y="47923"/>
                    <a:pt x="189448" y="98218"/>
                  </a:cubicBezTo>
                  <a:cubicBezTo>
                    <a:pt x="189448" y="148522"/>
                    <a:pt x="148522" y="189429"/>
                    <a:pt x="98227" y="189429"/>
                  </a:cubicBezTo>
                  <a:close/>
                  <a:moveTo>
                    <a:pt x="98227" y="24260"/>
                  </a:moveTo>
                  <a:cubicBezTo>
                    <a:pt x="57441" y="24260"/>
                    <a:pt x="24270" y="57441"/>
                    <a:pt x="24270" y="98218"/>
                  </a:cubicBezTo>
                  <a:cubicBezTo>
                    <a:pt x="24270" y="139003"/>
                    <a:pt x="57441" y="172176"/>
                    <a:pt x="98227" y="172176"/>
                  </a:cubicBezTo>
                  <a:cubicBezTo>
                    <a:pt x="139003" y="172176"/>
                    <a:pt x="172185" y="139003"/>
                    <a:pt x="172185" y="98218"/>
                  </a:cubicBezTo>
                  <a:cubicBezTo>
                    <a:pt x="172185" y="57441"/>
                    <a:pt x="139003" y="24260"/>
                    <a:pt x="98227" y="24260"/>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2" name="Freeform: Shape 13351">
              <a:extLst>
                <a:ext uri="{FF2B5EF4-FFF2-40B4-BE49-F238E27FC236}">
                  <a16:creationId xmlns:a16="http://schemas.microsoft.com/office/drawing/2014/main" id="{BCA64109-3856-4AA7-89F9-F8D84F3E214C}"/>
                </a:ext>
              </a:extLst>
            </p:cNvPr>
            <p:cNvSpPr/>
            <p:nvPr/>
          </p:nvSpPr>
          <p:spPr bwMode="ltGray">
            <a:xfrm>
              <a:off x="6615003" y="5383078"/>
              <a:ext cx="195053" cy="195053"/>
            </a:xfrm>
            <a:custGeom>
              <a:avLst/>
              <a:gdLst>
                <a:gd name="connsiteX0" fmla="*/ 98227 w 195052"/>
                <a:gd name="connsiteY0" fmla="*/ 189448 h 195052"/>
                <a:gd name="connsiteX1" fmla="*/ 7006 w 195052"/>
                <a:gd name="connsiteY1" fmla="*/ 98227 h 195052"/>
                <a:gd name="connsiteX2" fmla="*/ 98227 w 195052"/>
                <a:gd name="connsiteY2" fmla="*/ 7006 h 195052"/>
                <a:gd name="connsiteX3" fmla="*/ 189448 w 195052"/>
                <a:gd name="connsiteY3" fmla="*/ 98227 h 195052"/>
                <a:gd name="connsiteX4" fmla="*/ 98227 w 195052"/>
                <a:gd name="connsiteY4" fmla="*/ 189448 h 195052"/>
                <a:gd name="connsiteX5" fmla="*/ 98227 w 195052"/>
                <a:gd name="connsiteY5" fmla="*/ 24270 h 195052"/>
                <a:gd name="connsiteX6" fmla="*/ 24270 w 195052"/>
                <a:gd name="connsiteY6" fmla="*/ 98227 h 195052"/>
                <a:gd name="connsiteX7" fmla="*/ 98227 w 195052"/>
                <a:gd name="connsiteY7" fmla="*/ 172185 h 195052"/>
                <a:gd name="connsiteX8" fmla="*/ 172185 w 195052"/>
                <a:gd name="connsiteY8" fmla="*/ 98227 h 195052"/>
                <a:gd name="connsiteX9" fmla="*/ 98227 w 195052"/>
                <a:gd name="connsiteY9" fmla="*/ 24270 h 195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052" h="195052">
                  <a:moveTo>
                    <a:pt x="98227" y="189448"/>
                  </a:moveTo>
                  <a:cubicBezTo>
                    <a:pt x="47932" y="189448"/>
                    <a:pt x="7006" y="148532"/>
                    <a:pt x="7006" y="98227"/>
                  </a:cubicBezTo>
                  <a:cubicBezTo>
                    <a:pt x="7006" y="47932"/>
                    <a:pt x="47932" y="7006"/>
                    <a:pt x="98227" y="7006"/>
                  </a:cubicBezTo>
                  <a:cubicBezTo>
                    <a:pt x="148532" y="7006"/>
                    <a:pt x="189448" y="47932"/>
                    <a:pt x="189448" y="98227"/>
                  </a:cubicBezTo>
                  <a:cubicBezTo>
                    <a:pt x="189448" y="148532"/>
                    <a:pt x="148532" y="189448"/>
                    <a:pt x="98227" y="189448"/>
                  </a:cubicBezTo>
                  <a:close/>
                  <a:moveTo>
                    <a:pt x="98227" y="24270"/>
                  </a:moveTo>
                  <a:cubicBezTo>
                    <a:pt x="57451" y="24270"/>
                    <a:pt x="24270" y="57451"/>
                    <a:pt x="24270" y="98227"/>
                  </a:cubicBezTo>
                  <a:cubicBezTo>
                    <a:pt x="24270" y="139013"/>
                    <a:pt x="57451" y="172185"/>
                    <a:pt x="98227" y="172185"/>
                  </a:cubicBezTo>
                  <a:cubicBezTo>
                    <a:pt x="139013" y="172185"/>
                    <a:pt x="172185" y="139013"/>
                    <a:pt x="172185" y="98227"/>
                  </a:cubicBezTo>
                  <a:cubicBezTo>
                    <a:pt x="172185" y="57451"/>
                    <a:pt x="139013" y="24270"/>
                    <a:pt x="98227" y="24270"/>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3" name="Freeform: Shape 13352">
              <a:extLst>
                <a:ext uri="{FF2B5EF4-FFF2-40B4-BE49-F238E27FC236}">
                  <a16:creationId xmlns:a16="http://schemas.microsoft.com/office/drawing/2014/main" id="{5D9FA834-89D1-49C3-A5DA-9AFA1734C7BA}"/>
                </a:ext>
              </a:extLst>
            </p:cNvPr>
            <p:cNvSpPr/>
            <p:nvPr/>
          </p:nvSpPr>
          <p:spPr bwMode="ltGray">
            <a:xfrm>
              <a:off x="6988332" y="4933167"/>
              <a:ext cx="195053" cy="195053"/>
            </a:xfrm>
            <a:custGeom>
              <a:avLst/>
              <a:gdLst>
                <a:gd name="connsiteX0" fmla="*/ 98227 w 195052"/>
                <a:gd name="connsiteY0" fmla="*/ 189429 h 195052"/>
                <a:gd name="connsiteX1" fmla="*/ 7006 w 195052"/>
                <a:gd name="connsiteY1" fmla="*/ 98218 h 195052"/>
                <a:gd name="connsiteX2" fmla="*/ 98227 w 195052"/>
                <a:gd name="connsiteY2" fmla="*/ 7006 h 195052"/>
                <a:gd name="connsiteX3" fmla="*/ 189439 w 195052"/>
                <a:gd name="connsiteY3" fmla="*/ 98218 h 195052"/>
                <a:gd name="connsiteX4" fmla="*/ 98227 w 195052"/>
                <a:gd name="connsiteY4" fmla="*/ 189429 h 195052"/>
                <a:gd name="connsiteX5" fmla="*/ 98227 w 195052"/>
                <a:gd name="connsiteY5" fmla="*/ 24260 h 195052"/>
                <a:gd name="connsiteX6" fmla="*/ 24269 w 195052"/>
                <a:gd name="connsiteY6" fmla="*/ 98218 h 195052"/>
                <a:gd name="connsiteX7" fmla="*/ 98227 w 195052"/>
                <a:gd name="connsiteY7" fmla="*/ 172176 h 195052"/>
                <a:gd name="connsiteX8" fmla="*/ 172184 w 195052"/>
                <a:gd name="connsiteY8" fmla="*/ 98218 h 195052"/>
                <a:gd name="connsiteX9" fmla="*/ 98227 w 195052"/>
                <a:gd name="connsiteY9" fmla="*/ 24260 h 195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052" h="195052">
                  <a:moveTo>
                    <a:pt x="98227" y="189429"/>
                  </a:moveTo>
                  <a:cubicBezTo>
                    <a:pt x="47922" y="189429"/>
                    <a:pt x="7006" y="148522"/>
                    <a:pt x="7006" y="98218"/>
                  </a:cubicBezTo>
                  <a:cubicBezTo>
                    <a:pt x="7006" y="47923"/>
                    <a:pt x="47922" y="7006"/>
                    <a:pt x="98227" y="7006"/>
                  </a:cubicBezTo>
                  <a:cubicBezTo>
                    <a:pt x="148522" y="7006"/>
                    <a:pt x="189439" y="47923"/>
                    <a:pt x="189439" y="98218"/>
                  </a:cubicBezTo>
                  <a:cubicBezTo>
                    <a:pt x="189439" y="148522"/>
                    <a:pt x="148522" y="189429"/>
                    <a:pt x="98227" y="189429"/>
                  </a:cubicBezTo>
                  <a:close/>
                  <a:moveTo>
                    <a:pt x="98227" y="24260"/>
                  </a:moveTo>
                  <a:cubicBezTo>
                    <a:pt x="57441" y="24260"/>
                    <a:pt x="24269" y="57441"/>
                    <a:pt x="24269" y="98218"/>
                  </a:cubicBezTo>
                  <a:cubicBezTo>
                    <a:pt x="24269" y="139003"/>
                    <a:pt x="57441" y="172176"/>
                    <a:pt x="98227" y="172176"/>
                  </a:cubicBezTo>
                  <a:cubicBezTo>
                    <a:pt x="139003" y="172176"/>
                    <a:pt x="172184" y="139003"/>
                    <a:pt x="172184" y="98218"/>
                  </a:cubicBezTo>
                  <a:cubicBezTo>
                    <a:pt x="172184" y="57441"/>
                    <a:pt x="139003" y="24260"/>
                    <a:pt x="98227" y="24260"/>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4" name="Freeform: Shape 13353">
              <a:extLst>
                <a:ext uri="{FF2B5EF4-FFF2-40B4-BE49-F238E27FC236}">
                  <a16:creationId xmlns:a16="http://schemas.microsoft.com/office/drawing/2014/main" id="{F2B2EC74-20BA-439C-9702-67E74EF6FE8B}"/>
                </a:ext>
              </a:extLst>
            </p:cNvPr>
            <p:cNvSpPr/>
            <p:nvPr/>
          </p:nvSpPr>
          <p:spPr bwMode="ltGray">
            <a:xfrm>
              <a:off x="7298193" y="4933167"/>
              <a:ext cx="195053" cy="195053"/>
            </a:xfrm>
            <a:custGeom>
              <a:avLst/>
              <a:gdLst>
                <a:gd name="connsiteX0" fmla="*/ 98227 w 195052"/>
                <a:gd name="connsiteY0" fmla="*/ 189429 h 195052"/>
                <a:gd name="connsiteX1" fmla="*/ 7006 w 195052"/>
                <a:gd name="connsiteY1" fmla="*/ 98218 h 195052"/>
                <a:gd name="connsiteX2" fmla="*/ 98227 w 195052"/>
                <a:gd name="connsiteY2" fmla="*/ 7006 h 195052"/>
                <a:gd name="connsiteX3" fmla="*/ 189448 w 195052"/>
                <a:gd name="connsiteY3" fmla="*/ 98218 h 195052"/>
                <a:gd name="connsiteX4" fmla="*/ 98227 w 195052"/>
                <a:gd name="connsiteY4" fmla="*/ 189429 h 195052"/>
                <a:gd name="connsiteX5" fmla="*/ 98227 w 195052"/>
                <a:gd name="connsiteY5" fmla="*/ 24260 h 195052"/>
                <a:gd name="connsiteX6" fmla="*/ 24269 w 195052"/>
                <a:gd name="connsiteY6" fmla="*/ 98218 h 195052"/>
                <a:gd name="connsiteX7" fmla="*/ 98227 w 195052"/>
                <a:gd name="connsiteY7" fmla="*/ 172176 h 195052"/>
                <a:gd name="connsiteX8" fmla="*/ 172185 w 195052"/>
                <a:gd name="connsiteY8" fmla="*/ 98218 h 195052"/>
                <a:gd name="connsiteX9" fmla="*/ 98227 w 195052"/>
                <a:gd name="connsiteY9" fmla="*/ 24260 h 195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052" h="195052">
                  <a:moveTo>
                    <a:pt x="98227" y="189429"/>
                  </a:moveTo>
                  <a:cubicBezTo>
                    <a:pt x="47923" y="189429"/>
                    <a:pt x="7006" y="148522"/>
                    <a:pt x="7006" y="98218"/>
                  </a:cubicBezTo>
                  <a:cubicBezTo>
                    <a:pt x="7006" y="47923"/>
                    <a:pt x="47923" y="7006"/>
                    <a:pt x="98227" y="7006"/>
                  </a:cubicBezTo>
                  <a:cubicBezTo>
                    <a:pt x="148522" y="7006"/>
                    <a:pt x="189448" y="47923"/>
                    <a:pt x="189448" y="98218"/>
                  </a:cubicBezTo>
                  <a:cubicBezTo>
                    <a:pt x="189448" y="148522"/>
                    <a:pt x="148522" y="189429"/>
                    <a:pt x="98227" y="189429"/>
                  </a:cubicBezTo>
                  <a:close/>
                  <a:moveTo>
                    <a:pt x="98227" y="24260"/>
                  </a:moveTo>
                  <a:cubicBezTo>
                    <a:pt x="57441" y="24260"/>
                    <a:pt x="24269" y="57441"/>
                    <a:pt x="24269" y="98218"/>
                  </a:cubicBezTo>
                  <a:cubicBezTo>
                    <a:pt x="24269" y="139003"/>
                    <a:pt x="57441" y="172176"/>
                    <a:pt x="98227" y="172176"/>
                  </a:cubicBezTo>
                  <a:cubicBezTo>
                    <a:pt x="139003" y="172176"/>
                    <a:pt x="172185" y="139003"/>
                    <a:pt x="172185" y="98218"/>
                  </a:cubicBezTo>
                  <a:cubicBezTo>
                    <a:pt x="172185" y="57441"/>
                    <a:pt x="139003" y="24260"/>
                    <a:pt x="98227" y="24260"/>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5" name="Freeform: Shape 13354">
              <a:extLst>
                <a:ext uri="{FF2B5EF4-FFF2-40B4-BE49-F238E27FC236}">
                  <a16:creationId xmlns:a16="http://schemas.microsoft.com/office/drawing/2014/main" id="{1D5FBED1-5C41-4E03-8BCC-75878A0EDFD6}"/>
                </a:ext>
              </a:extLst>
            </p:cNvPr>
            <p:cNvSpPr/>
            <p:nvPr/>
          </p:nvSpPr>
          <p:spPr bwMode="ltGray">
            <a:xfrm>
              <a:off x="7608054" y="4933167"/>
              <a:ext cx="195053" cy="195053"/>
            </a:xfrm>
            <a:custGeom>
              <a:avLst/>
              <a:gdLst>
                <a:gd name="connsiteX0" fmla="*/ 98218 w 195052"/>
                <a:gd name="connsiteY0" fmla="*/ 189429 h 195052"/>
                <a:gd name="connsiteX1" fmla="*/ 7006 w 195052"/>
                <a:gd name="connsiteY1" fmla="*/ 98218 h 195052"/>
                <a:gd name="connsiteX2" fmla="*/ 98218 w 195052"/>
                <a:gd name="connsiteY2" fmla="*/ 7006 h 195052"/>
                <a:gd name="connsiteX3" fmla="*/ 189439 w 195052"/>
                <a:gd name="connsiteY3" fmla="*/ 98218 h 195052"/>
                <a:gd name="connsiteX4" fmla="*/ 98218 w 195052"/>
                <a:gd name="connsiteY4" fmla="*/ 189429 h 195052"/>
                <a:gd name="connsiteX5" fmla="*/ 98218 w 195052"/>
                <a:gd name="connsiteY5" fmla="*/ 24260 h 195052"/>
                <a:gd name="connsiteX6" fmla="*/ 24260 w 195052"/>
                <a:gd name="connsiteY6" fmla="*/ 98218 h 195052"/>
                <a:gd name="connsiteX7" fmla="*/ 98218 w 195052"/>
                <a:gd name="connsiteY7" fmla="*/ 172176 h 195052"/>
                <a:gd name="connsiteX8" fmla="*/ 172185 w 195052"/>
                <a:gd name="connsiteY8" fmla="*/ 98218 h 195052"/>
                <a:gd name="connsiteX9" fmla="*/ 98218 w 195052"/>
                <a:gd name="connsiteY9" fmla="*/ 24260 h 195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052" h="195052">
                  <a:moveTo>
                    <a:pt x="98218" y="189429"/>
                  </a:moveTo>
                  <a:cubicBezTo>
                    <a:pt x="47923" y="189429"/>
                    <a:pt x="7006" y="148522"/>
                    <a:pt x="7006" y="98218"/>
                  </a:cubicBezTo>
                  <a:cubicBezTo>
                    <a:pt x="7006" y="47923"/>
                    <a:pt x="47923" y="7006"/>
                    <a:pt x="98218" y="7006"/>
                  </a:cubicBezTo>
                  <a:cubicBezTo>
                    <a:pt x="148522" y="7006"/>
                    <a:pt x="189439" y="47923"/>
                    <a:pt x="189439" y="98218"/>
                  </a:cubicBezTo>
                  <a:cubicBezTo>
                    <a:pt x="189439" y="148522"/>
                    <a:pt x="148522" y="189429"/>
                    <a:pt x="98218" y="189429"/>
                  </a:cubicBezTo>
                  <a:close/>
                  <a:moveTo>
                    <a:pt x="98218" y="24260"/>
                  </a:moveTo>
                  <a:cubicBezTo>
                    <a:pt x="57441" y="24260"/>
                    <a:pt x="24260" y="57441"/>
                    <a:pt x="24260" y="98218"/>
                  </a:cubicBezTo>
                  <a:cubicBezTo>
                    <a:pt x="24260" y="139003"/>
                    <a:pt x="57441" y="172176"/>
                    <a:pt x="98218" y="172176"/>
                  </a:cubicBezTo>
                  <a:cubicBezTo>
                    <a:pt x="139003" y="172176"/>
                    <a:pt x="172185" y="139003"/>
                    <a:pt x="172185" y="98218"/>
                  </a:cubicBezTo>
                  <a:cubicBezTo>
                    <a:pt x="172185" y="57441"/>
                    <a:pt x="139003" y="24260"/>
                    <a:pt x="98218" y="24260"/>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6" name="Freeform: Shape 13355">
              <a:extLst>
                <a:ext uri="{FF2B5EF4-FFF2-40B4-BE49-F238E27FC236}">
                  <a16:creationId xmlns:a16="http://schemas.microsoft.com/office/drawing/2014/main" id="{E0365BE8-8938-43CC-8C9B-99DD33310C63}"/>
                </a:ext>
              </a:extLst>
            </p:cNvPr>
            <p:cNvSpPr/>
            <p:nvPr/>
          </p:nvSpPr>
          <p:spPr bwMode="ltGray">
            <a:xfrm>
              <a:off x="8266152" y="3011251"/>
              <a:ext cx="269038" cy="269038"/>
            </a:xfrm>
            <a:custGeom>
              <a:avLst/>
              <a:gdLst>
                <a:gd name="connsiteX0" fmla="*/ 134949 w 269038"/>
                <a:gd name="connsiteY0" fmla="*/ 262882 h 269038"/>
                <a:gd name="connsiteX1" fmla="*/ 7006 w 269038"/>
                <a:gd name="connsiteY1" fmla="*/ 134940 h 269038"/>
                <a:gd name="connsiteX2" fmla="*/ 134949 w 269038"/>
                <a:gd name="connsiteY2" fmla="*/ 7006 h 269038"/>
                <a:gd name="connsiteX3" fmla="*/ 262892 w 269038"/>
                <a:gd name="connsiteY3" fmla="*/ 134940 h 269038"/>
                <a:gd name="connsiteX4" fmla="*/ 134949 w 269038"/>
                <a:gd name="connsiteY4" fmla="*/ 262882 h 269038"/>
                <a:gd name="connsiteX5" fmla="*/ 134949 w 269038"/>
                <a:gd name="connsiteY5" fmla="*/ 75863 h 269038"/>
                <a:gd name="connsiteX6" fmla="*/ 75864 w 269038"/>
                <a:gd name="connsiteY6" fmla="*/ 134940 h 269038"/>
                <a:gd name="connsiteX7" fmla="*/ 134949 w 269038"/>
                <a:gd name="connsiteY7" fmla="*/ 194026 h 269038"/>
                <a:gd name="connsiteX8" fmla="*/ 194035 w 269038"/>
                <a:gd name="connsiteY8" fmla="*/ 134940 h 269038"/>
                <a:gd name="connsiteX9" fmla="*/ 134949 w 269038"/>
                <a:gd name="connsiteY9" fmla="*/ 75863 h 26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038" h="269038">
                  <a:moveTo>
                    <a:pt x="134949" y="262882"/>
                  </a:moveTo>
                  <a:cubicBezTo>
                    <a:pt x="64401" y="262882"/>
                    <a:pt x="7006" y="205488"/>
                    <a:pt x="7006" y="134940"/>
                  </a:cubicBezTo>
                  <a:cubicBezTo>
                    <a:pt x="7006" y="64401"/>
                    <a:pt x="64401" y="7006"/>
                    <a:pt x="134949" y="7006"/>
                  </a:cubicBezTo>
                  <a:cubicBezTo>
                    <a:pt x="205497" y="7006"/>
                    <a:pt x="262892" y="64401"/>
                    <a:pt x="262892" y="134940"/>
                  </a:cubicBezTo>
                  <a:cubicBezTo>
                    <a:pt x="262892" y="205488"/>
                    <a:pt x="205497" y="262882"/>
                    <a:pt x="134949" y="262882"/>
                  </a:cubicBezTo>
                  <a:close/>
                  <a:moveTo>
                    <a:pt x="134949" y="75863"/>
                  </a:moveTo>
                  <a:cubicBezTo>
                    <a:pt x="102366" y="75863"/>
                    <a:pt x="75864" y="102375"/>
                    <a:pt x="75864" y="134940"/>
                  </a:cubicBezTo>
                  <a:cubicBezTo>
                    <a:pt x="75864" y="167514"/>
                    <a:pt x="102366" y="194026"/>
                    <a:pt x="134949" y="194026"/>
                  </a:cubicBezTo>
                  <a:cubicBezTo>
                    <a:pt x="167523" y="194026"/>
                    <a:pt x="194035" y="167514"/>
                    <a:pt x="194035" y="134940"/>
                  </a:cubicBezTo>
                  <a:cubicBezTo>
                    <a:pt x="194035" y="102375"/>
                    <a:pt x="167523" y="75863"/>
                    <a:pt x="134949" y="75863"/>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7" name="Freeform: Shape 13356">
              <a:extLst>
                <a:ext uri="{FF2B5EF4-FFF2-40B4-BE49-F238E27FC236}">
                  <a16:creationId xmlns:a16="http://schemas.microsoft.com/office/drawing/2014/main" id="{782DA11B-C92A-4421-BCC9-EEBCC94AC6C9}"/>
                </a:ext>
              </a:extLst>
            </p:cNvPr>
            <p:cNvSpPr/>
            <p:nvPr/>
          </p:nvSpPr>
          <p:spPr bwMode="ltGray">
            <a:xfrm>
              <a:off x="4799730" y="4135393"/>
              <a:ext cx="269038" cy="269038"/>
            </a:xfrm>
            <a:custGeom>
              <a:avLst/>
              <a:gdLst>
                <a:gd name="connsiteX0" fmla="*/ 134949 w 269038"/>
                <a:gd name="connsiteY0" fmla="*/ 262892 h 269038"/>
                <a:gd name="connsiteX1" fmla="*/ 7006 w 269038"/>
                <a:gd name="connsiteY1" fmla="*/ 134949 h 269038"/>
                <a:gd name="connsiteX2" fmla="*/ 134949 w 269038"/>
                <a:gd name="connsiteY2" fmla="*/ 7006 h 269038"/>
                <a:gd name="connsiteX3" fmla="*/ 262882 w 269038"/>
                <a:gd name="connsiteY3" fmla="*/ 134949 h 269038"/>
                <a:gd name="connsiteX4" fmla="*/ 134949 w 269038"/>
                <a:gd name="connsiteY4" fmla="*/ 262892 h 269038"/>
                <a:gd name="connsiteX5" fmla="*/ 134949 w 269038"/>
                <a:gd name="connsiteY5" fmla="*/ 75863 h 269038"/>
                <a:gd name="connsiteX6" fmla="*/ 75864 w 269038"/>
                <a:gd name="connsiteY6" fmla="*/ 134949 h 269038"/>
                <a:gd name="connsiteX7" fmla="*/ 134949 w 269038"/>
                <a:gd name="connsiteY7" fmla="*/ 194035 h 269038"/>
                <a:gd name="connsiteX8" fmla="*/ 194026 w 269038"/>
                <a:gd name="connsiteY8" fmla="*/ 134949 h 269038"/>
                <a:gd name="connsiteX9" fmla="*/ 134949 w 269038"/>
                <a:gd name="connsiteY9" fmla="*/ 75863 h 26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038" h="269038">
                  <a:moveTo>
                    <a:pt x="134949" y="262892"/>
                  </a:moveTo>
                  <a:cubicBezTo>
                    <a:pt x="64392" y="262892"/>
                    <a:pt x="7006" y="205506"/>
                    <a:pt x="7006" y="134949"/>
                  </a:cubicBezTo>
                  <a:cubicBezTo>
                    <a:pt x="7006" y="64401"/>
                    <a:pt x="64392" y="7006"/>
                    <a:pt x="134949" y="7006"/>
                  </a:cubicBezTo>
                  <a:cubicBezTo>
                    <a:pt x="205488" y="7006"/>
                    <a:pt x="262882" y="64401"/>
                    <a:pt x="262882" y="134949"/>
                  </a:cubicBezTo>
                  <a:cubicBezTo>
                    <a:pt x="262882" y="205506"/>
                    <a:pt x="205488" y="262892"/>
                    <a:pt x="134949" y="262892"/>
                  </a:cubicBezTo>
                  <a:close/>
                  <a:moveTo>
                    <a:pt x="134949" y="75863"/>
                  </a:moveTo>
                  <a:cubicBezTo>
                    <a:pt x="102366" y="75863"/>
                    <a:pt x="75864" y="102375"/>
                    <a:pt x="75864" y="134949"/>
                  </a:cubicBezTo>
                  <a:cubicBezTo>
                    <a:pt x="75864" y="167532"/>
                    <a:pt x="102366" y="194035"/>
                    <a:pt x="134949" y="194035"/>
                  </a:cubicBezTo>
                  <a:cubicBezTo>
                    <a:pt x="167523" y="194035"/>
                    <a:pt x="194026" y="167532"/>
                    <a:pt x="194026" y="134949"/>
                  </a:cubicBezTo>
                  <a:cubicBezTo>
                    <a:pt x="194026" y="102375"/>
                    <a:pt x="167523" y="75863"/>
                    <a:pt x="134949" y="75863"/>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8" name="Freeform: Shape 13357">
              <a:extLst>
                <a:ext uri="{FF2B5EF4-FFF2-40B4-BE49-F238E27FC236}">
                  <a16:creationId xmlns:a16="http://schemas.microsoft.com/office/drawing/2014/main" id="{2B57B89B-5C34-41E6-A3AD-8004FC96DF7B}"/>
                </a:ext>
              </a:extLst>
            </p:cNvPr>
            <p:cNvSpPr/>
            <p:nvPr/>
          </p:nvSpPr>
          <p:spPr bwMode="ltGray">
            <a:xfrm>
              <a:off x="9135408" y="3924020"/>
              <a:ext cx="199537" cy="199537"/>
            </a:xfrm>
            <a:custGeom>
              <a:avLst/>
              <a:gdLst>
                <a:gd name="connsiteX0" fmla="*/ 100525 w 199536"/>
                <a:gd name="connsiteY0" fmla="*/ 194026 h 199536"/>
                <a:gd name="connsiteX1" fmla="*/ 7006 w 199536"/>
                <a:gd name="connsiteY1" fmla="*/ 100516 h 199536"/>
                <a:gd name="connsiteX2" fmla="*/ 100525 w 199536"/>
                <a:gd name="connsiteY2" fmla="*/ 7006 h 199536"/>
                <a:gd name="connsiteX3" fmla="*/ 194035 w 199536"/>
                <a:gd name="connsiteY3" fmla="*/ 100516 h 199536"/>
                <a:gd name="connsiteX4" fmla="*/ 100525 w 199536"/>
                <a:gd name="connsiteY4" fmla="*/ 194026 h 199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536" h="199536">
                  <a:moveTo>
                    <a:pt x="100525" y="194026"/>
                  </a:moveTo>
                  <a:cubicBezTo>
                    <a:pt x="48875" y="194026"/>
                    <a:pt x="7006" y="152157"/>
                    <a:pt x="7006" y="100516"/>
                  </a:cubicBezTo>
                  <a:cubicBezTo>
                    <a:pt x="7006" y="48866"/>
                    <a:pt x="48875" y="7006"/>
                    <a:pt x="100525" y="7006"/>
                  </a:cubicBezTo>
                  <a:cubicBezTo>
                    <a:pt x="152166" y="7006"/>
                    <a:pt x="194035" y="48866"/>
                    <a:pt x="194035" y="100516"/>
                  </a:cubicBezTo>
                  <a:cubicBezTo>
                    <a:pt x="194035" y="152157"/>
                    <a:pt x="152166" y="194026"/>
                    <a:pt x="100525" y="194026"/>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59" name="Freeform: Shape 13358">
              <a:extLst>
                <a:ext uri="{FF2B5EF4-FFF2-40B4-BE49-F238E27FC236}">
                  <a16:creationId xmlns:a16="http://schemas.microsoft.com/office/drawing/2014/main" id="{BC072B1D-1CF3-416D-BA72-A00DAAB20F3C}"/>
                </a:ext>
              </a:extLst>
            </p:cNvPr>
            <p:cNvSpPr/>
            <p:nvPr/>
          </p:nvSpPr>
          <p:spPr bwMode="ltGray">
            <a:xfrm>
              <a:off x="7699275" y="5380789"/>
              <a:ext cx="199537" cy="199537"/>
            </a:xfrm>
            <a:custGeom>
              <a:avLst/>
              <a:gdLst>
                <a:gd name="connsiteX0" fmla="*/ 100516 w 199536"/>
                <a:gd name="connsiteY0" fmla="*/ 194035 h 199536"/>
                <a:gd name="connsiteX1" fmla="*/ 7006 w 199536"/>
                <a:gd name="connsiteY1" fmla="*/ 100516 h 199536"/>
                <a:gd name="connsiteX2" fmla="*/ 100516 w 199536"/>
                <a:gd name="connsiteY2" fmla="*/ 7006 h 199536"/>
                <a:gd name="connsiteX3" fmla="*/ 194016 w 199536"/>
                <a:gd name="connsiteY3" fmla="*/ 100516 h 199536"/>
                <a:gd name="connsiteX4" fmla="*/ 100516 w 199536"/>
                <a:gd name="connsiteY4" fmla="*/ 194035 h 199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536" h="199536">
                  <a:moveTo>
                    <a:pt x="100516" y="194035"/>
                  </a:moveTo>
                  <a:cubicBezTo>
                    <a:pt x="48866" y="194035"/>
                    <a:pt x="7006" y="152166"/>
                    <a:pt x="7006" y="100516"/>
                  </a:cubicBezTo>
                  <a:cubicBezTo>
                    <a:pt x="7006" y="48875"/>
                    <a:pt x="48866" y="7006"/>
                    <a:pt x="100516" y="7006"/>
                  </a:cubicBezTo>
                  <a:cubicBezTo>
                    <a:pt x="152156" y="7006"/>
                    <a:pt x="194016" y="48875"/>
                    <a:pt x="194016" y="100516"/>
                  </a:cubicBezTo>
                  <a:cubicBezTo>
                    <a:pt x="194016" y="152166"/>
                    <a:pt x="152156" y="194035"/>
                    <a:pt x="100516" y="194035"/>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0" name="Freeform: Shape 13359">
              <a:extLst>
                <a:ext uri="{FF2B5EF4-FFF2-40B4-BE49-F238E27FC236}">
                  <a16:creationId xmlns:a16="http://schemas.microsoft.com/office/drawing/2014/main" id="{8C6CEADA-A4BE-4561-84DF-BD69FA244557}"/>
                </a:ext>
              </a:extLst>
            </p:cNvPr>
            <p:cNvSpPr/>
            <p:nvPr/>
          </p:nvSpPr>
          <p:spPr bwMode="ltGray">
            <a:xfrm>
              <a:off x="7701592" y="2237074"/>
              <a:ext cx="89679" cy="89679"/>
            </a:xfrm>
            <a:custGeom>
              <a:avLst/>
              <a:gdLst>
                <a:gd name="connsiteX0" fmla="*/ 45783 w 89679"/>
                <a:gd name="connsiteY0" fmla="*/ 84579 h 89679"/>
                <a:gd name="connsiteX1" fmla="*/ 7006 w 89679"/>
                <a:gd name="connsiteY1" fmla="*/ 45793 h 89679"/>
                <a:gd name="connsiteX2" fmla="*/ 45783 w 89679"/>
                <a:gd name="connsiteY2" fmla="*/ 7006 h 89679"/>
                <a:gd name="connsiteX3" fmla="*/ 84579 w 89679"/>
                <a:gd name="connsiteY3" fmla="*/ 45793 h 89679"/>
                <a:gd name="connsiteX4" fmla="*/ 45783 w 89679"/>
                <a:gd name="connsiteY4" fmla="*/ 84579 h 89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79" h="89679">
                  <a:moveTo>
                    <a:pt x="45783" y="84579"/>
                  </a:moveTo>
                  <a:cubicBezTo>
                    <a:pt x="24363" y="84579"/>
                    <a:pt x="7006" y="67213"/>
                    <a:pt x="7006" y="45793"/>
                  </a:cubicBezTo>
                  <a:cubicBezTo>
                    <a:pt x="7006" y="24372"/>
                    <a:pt x="24363" y="7006"/>
                    <a:pt x="45783" y="7006"/>
                  </a:cubicBezTo>
                  <a:cubicBezTo>
                    <a:pt x="67204" y="7006"/>
                    <a:pt x="84579" y="24372"/>
                    <a:pt x="84579" y="45793"/>
                  </a:cubicBezTo>
                  <a:cubicBezTo>
                    <a:pt x="84579" y="67213"/>
                    <a:pt x="67204" y="84579"/>
                    <a:pt x="45783" y="84579"/>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1" name="Freeform: Shape 13360">
              <a:extLst>
                <a:ext uri="{FF2B5EF4-FFF2-40B4-BE49-F238E27FC236}">
                  <a16:creationId xmlns:a16="http://schemas.microsoft.com/office/drawing/2014/main" id="{B0172D1C-DA1F-4DEC-B9A1-C82327B05263}"/>
                </a:ext>
              </a:extLst>
            </p:cNvPr>
            <p:cNvSpPr/>
            <p:nvPr/>
          </p:nvSpPr>
          <p:spPr bwMode="ltGray">
            <a:xfrm>
              <a:off x="4834154" y="3097016"/>
              <a:ext cx="89679" cy="89679"/>
            </a:xfrm>
            <a:custGeom>
              <a:avLst/>
              <a:gdLst>
                <a:gd name="connsiteX0" fmla="*/ 45783 w 89679"/>
                <a:gd name="connsiteY0" fmla="*/ 84570 h 89679"/>
                <a:gd name="connsiteX1" fmla="*/ 7006 w 89679"/>
                <a:gd name="connsiteY1" fmla="*/ 45783 h 89679"/>
                <a:gd name="connsiteX2" fmla="*/ 45783 w 89679"/>
                <a:gd name="connsiteY2" fmla="*/ 7006 h 89679"/>
                <a:gd name="connsiteX3" fmla="*/ 84579 w 89679"/>
                <a:gd name="connsiteY3" fmla="*/ 45783 h 89679"/>
                <a:gd name="connsiteX4" fmla="*/ 45783 w 89679"/>
                <a:gd name="connsiteY4" fmla="*/ 84570 h 89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79" h="89679">
                  <a:moveTo>
                    <a:pt x="45783" y="84570"/>
                  </a:moveTo>
                  <a:cubicBezTo>
                    <a:pt x="24372" y="84570"/>
                    <a:pt x="7006" y="67204"/>
                    <a:pt x="7006" y="45783"/>
                  </a:cubicBezTo>
                  <a:cubicBezTo>
                    <a:pt x="7006" y="24372"/>
                    <a:pt x="24372" y="7006"/>
                    <a:pt x="45783" y="7006"/>
                  </a:cubicBezTo>
                  <a:cubicBezTo>
                    <a:pt x="67213" y="7006"/>
                    <a:pt x="84579" y="24372"/>
                    <a:pt x="84579" y="45783"/>
                  </a:cubicBezTo>
                  <a:cubicBezTo>
                    <a:pt x="84579" y="67204"/>
                    <a:pt x="67213" y="84570"/>
                    <a:pt x="45783" y="84570"/>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2" name="Freeform: Shape 13361">
              <a:extLst>
                <a:ext uri="{FF2B5EF4-FFF2-40B4-BE49-F238E27FC236}">
                  <a16:creationId xmlns:a16="http://schemas.microsoft.com/office/drawing/2014/main" id="{ADBB8F31-94D3-4F47-859A-E307F6CBC0E2}"/>
                </a:ext>
              </a:extLst>
            </p:cNvPr>
            <p:cNvSpPr/>
            <p:nvPr/>
          </p:nvSpPr>
          <p:spPr bwMode="ltGray">
            <a:xfrm>
              <a:off x="7977020" y="2238326"/>
              <a:ext cx="89679" cy="89679"/>
            </a:xfrm>
            <a:custGeom>
              <a:avLst/>
              <a:gdLst>
                <a:gd name="connsiteX0" fmla="*/ 45783 w 89679"/>
                <a:gd name="connsiteY0" fmla="*/ 84579 h 89679"/>
                <a:gd name="connsiteX1" fmla="*/ 7006 w 89679"/>
                <a:gd name="connsiteY1" fmla="*/ 45793 h 89679"/>
                <a:gd name="connsiteX2" fmla="*/ 45783 w 89679"/>
                <a:gd name="connsiteY2" fmla="*/ 7006 h 89679"/>
                <a:gd name="connsiteX3" fmla="*/ 84579 w 89679"/>
                <a:gd name="connsiteY3" fmla="*/ 45793 h 89679"/>
                <a:gd name="connsiteX4" fmla="*/ 45783 w 89679"/>
                <a:gd name="connsiteY4" fmla="*/ 84579 h 89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79" h="89679">
                  <a:moveTo>
                    <a:pt x="45783" y="84579"/>
                  </a:moveTo>
                  <a:cubicBezTo>
                    <a:pt x="24372" y="84579"/>
                    <a:pt x="7006" y="67213"/>
                    <a:pt x="7006" y="45793"/>
                  </a:cubicBezTo>
                  <a:cubicBezTo>
                    <a:pt x="7006" y="24372"/>
                    <a:pt x="24372" y="7006"/>
                    <a:pt x="45783" y="7006"/>
                  </a:cubicBezTo>
                  <a:cubicBezTo>
                    <a:pt x="67213" y="7006"/>
                    <a:pt x="84579" y="24372"/>
                    <a:pt x="84579" y="45793"/>
                  </a:cubicBezTo>
                  <a:cubicBezTo>
                    <a:pt x="84579" y="67213"/>
                    <a:pt x="67213" y="84579"/>
                    <a:pt x="45783" y="84579"/>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3" name="Freeform: Shape 13362">
              <a:extLst>
                <a:ext uri="{FF2B5EF4-FFF2-40B4-BE49-F238E27FC236}">
                  <a16:creationId xmlns:a16="http://schemas.microsoft.com/office/drawing/2014/main" id="{630594AB-4703-45A0-961A-ED469779DD6F}"/>
                </a:ext>
              </a:extLst>
            </p:cNvPr>
            <p:cNvSpPr/>
            <p:nvPr/>
          </p:nvSpPr>
          <p:spPr bwMode="ltGray">
            <a:xfrm>
              <a:off x="8114724" y="2238961"/>
              <a:ext cx="89679" cy="89679"/>
            </a:xfrm>
            <a:custGeom>
              <a:avLst/>
              <a:gdLst>
                <a:gd name="connsiteX0" fmla="*/ 45802 w 89679"/>
                <a:gd name="connsiteY0" fmla="*/ 84570 h 89679"/>
                <a:gd name="connsiteX1" fmla="*/ 7006 w 89679"/>
                <a:gd name="connsiteY1" fmla="*/ 45783 h 89679"/>
                <a:gd name="connsiteX2" fmla="*/ 45802 w 89679"/>
                <a:gd name="connsiteY2" fmla="*/ 7006 h 89679"/>
                <a:gd name="connsiteX3" fmla="*/ 84589 w 89679"/>
                <a:gd name="connsiteY3" fmla="*/ 45783 h 89679"/>
                <a:gd name="connsiteX4" fmla="*/ 45802 w 89679"/>
                <a:gd name="connsiteY4" fmla="*/ 84570 h 89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79" h="89679">
                  <a:moveTo>
                    <a:pt x="45802" y="84570"/>
                  </a:moveTo>
                  <a:cubicBezTo>
                    <a:pt x="24382" y="84570"/>
                    <a:pt x="7006" y="67204"/>
                    <a:pt x="7006" y="45783"/>
                  </a:cubicBezTo>
                  <a:cubicBezTo>
                    <a:pt x="7006" y="24363"/>
                    <a:pt x="24382" y="7006"/>
                    <a:pt x="45802" y="7006"/>
                  </a:cubicBezTo>
                  <a:cubicBezTo>
                    <a:pt x="67223" y="7006"/>
                    <a:pt x="84589" y="24363"/>
                    <a:pt x="84589" y="45783"/>
                  </a:cubicBezTo>
                  <a:cubicBezTo>
                    <a:pt x="84589" y="67204"/>
                    <a:pt x="67223" y="84570"/>
                    <a:pt x="45802" y="84570"/>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4" name="Freeform: Shape 13363">
              <a:extLst>
                <a:ext uri="{FF2B5EF4-FFF2-40B4-BE49-F238E27FC236}">
                  <a16:creationId xmlns:a16="http://schemas.microsoft.com/office/drawing/2014/main" id="{9660E0C2-7B4B-4600-8744-376B29BB2E29}"/>
                </a:ext>
              </a:extLst>
            </p:cNvPr>
            <p:cNvSpPr/>
            <p:nvPr/>
          </p:nvSpPr>
          <p:spPr bwMode="ltGray">
            <a:xfrm>
              <a:off x="7256296" y="1219295"/>
              <a:ext cx="174875" cy="174875"/>
            </a:xfrm>
            <a:custGeom>
              <a:avLst/>
              <a:gdLst>
                <a:gd name="connsiteX0" fmla="*/ 87606 w 174874"/>
                <a:gd name="connsiteY0" fmla="*/ 168215 h 174874"/>
                <a:gd name="connsiteX1" fmla="*/ 7006 w 174874"/>
                <a:gd name="connsiteY1" fmla="*/ 87606 h 174874"/>
                <a:gd name="connsiteX2" fmla="*/ 87606 w 174874"/>
                <a:gd name="connsiteY2" fmla="*/ 7006 h 174874"/>
                <a:gd name="connsiteX3" fmla="*/ 168205 w 174874"/>
                <a:gd name="connsiteY3" fmla="*/ 87606 h 174874"/>
                <a:gd name="connsiteX4" fmla="*/ 87606 w 174874"/>
                <a:gd name="connsiteY4" fmla="*/ 168215 h 174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74" h="174874">
                  <a:moveTo>
                    <a:pt x="87606" y="168215"/>
                  </a:moveTo>
                  <a:cubicBezTo>
                    <a:pt x="43093" y="168215"/>
                    <a:pt x="7006" y="132119"/>
                    <a:pt x="7006" y="87606"/>
                  </a:cubicBezTo>
                  <a:cubicBezTo>
                    <a:pt x="7006" y="43093"/>
                    <a:pt x="43093" y="7006"/>
                    <a:pt x="87606" y="7006"/>
                  </a:cubicBezTo>
                  <a:cubicBezTo>
                    <a:pt x="132118" y="7006"/>
                    <a:pt x="168205" y="43093"/>
                    <a:pt x="168205" y="87606"/>
                  </a:cubicBezTo>
                  <a:cubicBezTo>
                    <a:pt x="168205" y="132119"/>
                    <a:pt x="132118" y="168215"/>
                    <a:pt x="87606" y="168215"/>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5" name="Freeform: Shape 13364">
              <a:extLst>
                <a:ext uri="{FF2B5EF4-FFF2-40B4-BE49-F238E27FC236}">
                  <a16:creationId xmlns:a16="http://schemas.microsoft.com/office/drawing/2014/main" id="{873F306F-20D9-4121-8479-3DAC08ACC7EA}"/>
                </a:ext>
              </a:extLst>
            </p:cNvPr>
            <p:cNvSpPr/>
            <p:nvPr/>
          </p:nvSpPr>
          <p:spPr bwMode="ltGray">
            <a:xfrm>
              <a:off x="8252439" y="2239587"/>
              <a:ext cx="89679" cy="89679"/>
            </a:xfrm>
            <a:custGeom>
              <a:avLst/>
              <a:gdLst>
                <a:gd name="connsiteX0" fmla="*/ 45802 w 89679"/>
                <a:gd name="connsiteY0" fmla="*/ 84570 h 89679"/>
                <a:gd name="connsiteX1" fmla="*/ 7006 w 89679"/>
                <a:gd name="connsiteY1" fmla="*/ 45783 h 89679"/>
                <a:gd name="connsiteX2" fmla="*/ 45802 w 89679"/>
                <a:gd name="connsiteY2" fmla="*/ 7006 h 89679"/>
                <a:gd name="connsiteX3" fmla="*/ 84579 w 89679"/>
                <a:gd name="connsiteY3" fmla="*/ 45783 h 89679"/>
                <a:gd name="connsiteX4" fmla="*/ 45802 w 89679"/>
                <a:gd name="connsiteY4" fmla="*/ 84570 h 89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79" h="89679">
                  <a:moveTo>
                    <a:pt x="45802" y="84570"/>
                  </a:moveTo>
                  <a:cubicBezTo>
                    <a:pt x="24382" y="84570"/>
                    <a:pt x="7006" y="67204"/>
                    <a:pt x="7006" y="45783"/>
                  </a:cubicBezTo>
                  <a:cubicBezTo>
                    <a:pt x="7006" y="24363"/>
                    <a:pt x="24382" y="7006"/>
                    <a:pt x="45802" y="7006"/>
                  </a:cubicBezTo>
                  <a:cubicBezTo>
                    <a:pt x="67223" y="7006"/>
                    <a:pt x="84579" y="24363"/>
                    <a:pt x="84579" y="45783"/>
                  </a:cubicBezTo>
                  <a:cubicBezTo>
                    <a:pt x="84579" y="67204"/>
                    <a:pt x="67223" y="84570"/>
                    <a:pt x="45802" y="84570"/>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6" name="Freeform: Shape 13365">
              <a:extLst>
                <a:ext uri="{FF2B5EF4-FFF2-40B4-BE49-F238E27FC236}">
                  <a16:creationId xmlns:a16="http://schemas.microsoft.com/office/drawing/2014/main" id="{E02548BD-4FA2-42A8-B7F3-1ED3B43E7F14}"/>
                </a:ext>
              </a:extLst>
            </p:cNvPr>
            <p:cNvSpPr/>
            <p:nvPr/>
          </p:nvSpPr>
          <p:spPr bwMode="ltGray">
            <a:xfrm>
              <a:off x="8355309" y="3100398"/>
              <a:ext cx="89679" cy="89679"/>
            </a:xfrm>
            <a:custGeom>
              <a:avLst/>
              <a:gdLst>
                <a:gd name="connsiteX0" fmla="*/ 45792 w 89679"/>
                <a:gd name="connsiteY0" fmla="*/ 84579 h 89679"/>
                <a:gd name="connsiteX1" fmla="*/ 7006 w 89679"/>
                <a:gd name="connsiteY1" fmla="*/ 45793 h 89679"/>
                <a:gd name="connsiteX2" fmla="*/ 45792 w 89679"/>
                <a:gd name="connsiteY2" fmla="*/ 7006 h 89679"/>
                <a:gd name="connsiteX3" fmla="*/ 84579 w 89679"/>
                <a:gd name="connsiteY3" fmla="*/ 45793 h 89679"/>
                <a:gd name="connsiteX4" fmla="*/ 45792 w 89679"/>
                <a:gd name="connsiteY4" fmla="*/ 84579 h 89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79" h="89679">
                  <a:moveTo>
                    <a:pt x="45792" y="84579"/>
                  </a:moveTo>
                  <a:cubicBezTo>
                    <a:pt x="24372" y="84579"/>
                    <a:pt x="7006" y="67213"/>
                    <a:pt x="7006" y="45793"/>
                  </a:cubicBezTo>
                  <a:cubicBezTo>
                    <a:pt x="7006" y="24372"/>
                    <a:pt x="24372" y="7006"/>
                    <a:pt x="45792" y="7006"/>
                  </a:cubicBezTo>
                  <a:cubicBezTo>
                    <a:pt x="67213" y="7006"/>
                    <a:pt x="84579" y="24372"/>
                    <a:pt x="84579" y="45793"/>
                  </a:cubicBezTo>
                  <a:cubicBezTo>
                    <a:pt x="84579" y="67213"/>
                    <a:pt x="67213" y="84579"/>
                    <a:pt x="45792" y="84579"/>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7" name="Freeform: Shape 13366">
              <a:extLst>
                <a:ext uri="{FF2B5EF4-FFF2-40B4-BE49-F238E27FC236}">
                  <a16:creationId xmlns:a16="http://schemas.microsoft.com/office/drawing/2014/main" id="{E08963D8-41DD-45A7-BBE8-D7CA6CF7B577}"/>
                </a:ext>
              </a:extLst>
            </p:cNvPr>
            <p:cNvSpPr/>
            <p:nvPr/>
          </p:nvSpPr>
          <p:spPr bwMode="ltGray">
            <a:xfrm>
              <a:off x="3918358" y="2776487"/>
              <a:ext cx="654660" cy="654660"/>
            </a:xfrm>
            <a:custGeom>
              <a:avLst/>
              <a:gdLst>
                <a:gd name="connsiteX0" fmla="*/ 327526 w 654659"/>
                <a:gd name="connsiteY0" fmla="*/ 648065 h 654660"/>
                <a:gd name="connsiteX1" fmla="*/ 110521 w 654659"/>
                <a:gd name="connsiteY1" fmla="*/ 563225 h 654660"/>
                <a:gd name="connsiteX2" fmla="*/ 544541 w 654659"/>
                <a:gd name="connsiteY2" fmla="*/ 563225 h 654660"/>
                <a:gd name="connsiteX3" fmla="*/ 327526 w 654659"/>
                <a:gd name="connsiteY3" fmla="*/ 648065 h 654660"/>
                <a:gd name="connsiteX4" fmla="*/ 561553 w 654659"/>
                <a:gd name="connsiteY4" fmla="*/ 546344 h 654660"/>
                <a:gd name="connsiteX5" fmla="*/ 394198 w 654659"/>
                <a:gd name="connsiteY5" fmla="*/ 546344 h 654660"/>
                <a:gd name="connsiteX6" fmla="*/ 554182 w 654659"/>
                <a:gd name="connsiteY6" fmla="*/ 358279 h 654660"/>
                <a:gd name="connsiteX7" fmla="*/ 583403 w 654659"/>
                <a:gd name="connsiteY7" fmla="*/ 358279 h 654660"/>
                <a:gd name="connsiteX8" fmla="*/ 583403 w 654659"/>
                <a:gd name="connsiteY8" fmla="*/ 352646 h 654660"/>
                <a:gd name="connsiteX9" fmla="*/ 554873 w 654659"/>
                <a:gd name="connsiteY9" fmla="*/ 352646 h 654660"/>
                <a:gd name="connsiteX10" fmla="*/ 556247 w 654659"/>
                <a:gd name="connsiteY10" fmla="*/ 327536 h 654660"/>
                <a:gd name="connsiteX11" fmla="*/ 327526 w 654659"/>
                <a:gd name="connsiteY11" fmla="*/ 98815 h 654660"/>
                <a:gd name="connsiteX12" fmla="*/ 98816 w 654659"/>
                <a:gd name="connsiteY12" fmla="*/ 327536 h 654660"/>
                <a:gd name="connsiteX13" fmla="*/ 260855 w 654659"/>
                <a:gd name="connsiteY13" fmla="*/ 546344 h 654660"/>
                <a:gd name="connsiteX14" fmla="*/ 93510 w 654659"/>
                <a:gd name="connsiteY14" fmla="*/ 546344 h 654660"/>
                <a:gd name="connsiteX15" fmla="*/ 8464 w 654659"/>
                <a:gd name="connsiteY15" fmla="*/ 358279 h 654660"/>
                <a:gd name="connsiteX16" fmla="*/ 43111 w 654659"/>
                <a:gd name="connsiteY16" fmla="*/ 358279 h 654660"/>
                <a:gd name="connsiteX17" fmla="*/ 43111 w 654659"/>
                <a:gd name="connsiteY17" fmla="*/ 352646 h 654660"/>
                <a:gd name="connsiteX18" fmla="*/ 7978 w 654659"/>
                <a:gd name="connsiteY18" fmla="*/ 352646 h 654660"/>
                <a:gd name="connsiteX19" fmla="*/ 7006 w 654659"/>
                <a:gd name="connsiteY19" fmla="*/ 327536 h 654660"/>
                <a:gd name="connsiteX20" fmla="*/ 57731 w 654659"/>
                <a:gd name="connsiteY20" fmla="*/ 154650 h 654660"/>
                <a:gd name="connsiteX21" fmla="*/ 128167 w 654659"/>
                <a:gd name="connsiteY21" fmla="*/ 84215 h 654660"/>
                <a:gd name="connsiteX22" fmla="*/ 124178 w 654659"/>
                <a:gd name="connsiteY22" fmla="*/ 80235 h 654660"/>
                <a:gd name="connsiteX23" fmla="*/ 78619 w 654659"/>
                <a:gd name="connsiteY23" fmla="*/ 125794 h 654660"/>
                <a:gd name="connsiteX24" fmla="*/ 140349 w 654659"/>
                <a:gd name="connsiteY24" fmla="*/ 67474 h 654660"/>
                <a:gd name="connsiteX25" fmla="*/ 138704 w 654659"/>
                <a:gd name="connsiteY25" fmla="*/ 75218 h 654660"/>
                <a:gd name="connsiteX26" fmla="*/ 157724 w 654659"/>
                <a:gd name="connsiteY26" fmla="*/ 94238 h 654660"/>
                <a:gd name="connsiteX27" fmla="*/ 176753 w 654659"/>
                <a:gd name="connsiteY27" fmla="*/ 75218 h 654660"/>
                <a:gd name="connsiteX28" fmla="*/ 157724 w 654659"/>
                <a:gd name="connsiteY28" fmla="*/ 56199 h 654660"/>
                <a:gd name="connsiteX29" fmla="*/ 157033 w 654659"/>
                <a:gd name="connsiteY29" fmla="*/ 56208 h 654660"/>
                <a:gd name="connsiteX30" fmla="*/ 327526 w 654659"/>
                <a:gd name="connsiteY30" fmla="*/ 7006 h 654660"/>
                <a:gd name="connsiteX31" fmla="*/ 648056 w 654659"/>
                <a:gd name="connsiteY31" fmla="*/ 327536 h 654660"/>
                <a:gd name="connsiteX32" fmla="*/ 561553 w 654659"/>
                <a:gd name="connsiteY32" fmla="*/ 546344 h 654660"/>
                <a:gd name="connsiteX33" fmla="*/ 367294 w 654659"/>
                <a:gd name="connsiteY33" fmla="*/ 56199 h 654660"/>
                <a:gd name="connsiteX34" fmla="*/ 348274 w 654659"/>
                <a:gd name="connsiteY34" fmla="*/ 75218 h 654660"/>
                <a:gd name="connsiteX35" fmla="*/ 367294 w 654659"/>
                <a:gd name="connsiteY35" fmla="*/ 94238 h 654660"/>
                <a:gd name="connsiteX36" fmla="*/ 386313 w 654659"/>
                <a:gd name="connsiteY36" fmla="*/ 75218 h 654660"/>
                <a:gd name="connsiteX37" fmla="*/ 367294 w 654659"/>
                <a:gd name="connsiteY37" fmla="*/ 56199 h 654660"/>
                <a:gd name="connsiteX38" fmla="*/ 297437 w 654659"/>
                <a:gd name="connsiteY38" fmla="*/ 56199 h 654660"/>
                <a:gd name="connsiteX39" fmla="*/ 278418 w 654659"/>
                <a:gd name="connsiteY39" fmla="*/ 75218 h 654660"/>
                <a:gd name="connsiteX40" fmla="*/ 297437 w 654659"/>
                <a:gd name="connsiteY40" fmla="*/ 94238 h 654660"/>
                <a:gd name="connsiteX41" fmla="*/ 316457 w 654659"/>
                <a:gd name="connsiteY41" fmla="*/ 75218 h 654660"/>
                <a:gd name="connsiteX42" fmla="*/ 297437 w 654659"/>
                <a:gd name="connsiteY42" fmla="*/ 56199 h 654660"/>
                <a:gd name="connsiteX43" fmla="*/ 227580 w 654659"/>
                <a:gd name="connsiteY43" fmla="*/ 56199 h 654660"/>
                <a:gd name="connsiteX44" fmla="*/ 208561 w 654659"/>
                <a:gd name="connsiteY44" fmla="*/ 75218 h 654660"/>
                <a:gd name="connsiteX45" fmla="*/ 227580 w 654659"/>
                <a:gd name="connsiteY45" fmla="*/ 94238 h 654660"/>
                <a:gd name="connsiteX46" fmla="*/ 246600 w 654659"/>
                <a:gd name="connsiteY46" fmla="*/ 75218 h 654660"/>
                <a:gd name="connsiteX47" fmla="*/ 227580 w 654659"/>
                <a:gd name="connsiteY47" fmla="*/ 56199 h 65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54659" h="654660">
                  <a:moveTo>
                    <a:pt x="327526" y="648065"/>
                  </a:moveTo>
                  <a:cubicBezTo>
                    <a:pt x="243891" y="648065"/>
                    <a:pt x="167645" y="615874"/>
                    <a:pt x="110521" y="563225"/>
                  </a:cubicBezTo>
                  <a:lnTo>
                    <a:pt x="544541" y="563225"/>
                  </a:lnTo>
                  <a:cubicBezTo>
                    <a:pt x="487408" y="615874"/>
                    <a:pt x="411162" y="648065"/>
                    <a:pt x="327526" y="648065"/>
                  </a:cubicBezTo>
                  <a:close/>
                  <a:moveTo>
                    <a:pt x="561553" y="546344"/>
                  </a:moveTo>
                  <a:lnTo>
                    <a:pt x="394198" y="546344"/>
                  </a:lnTo>
                  <a:cubicBezTo>
                    <a:pt x="478403" y="520636"/>
                    <a:pt x="542141" y="447538"/>
                    <a:pt x="554182" y="358279"/>
                  </a:cubicBezTo>
                  <a:lnTo>
                    <a:pt x="583403" y="358279"/>
                  </a:lnTo>
                  <a:lnTo>
                    <a:pt x="583403" y="352646"/>
                  </a:lnTo>
                  <a:lnTo>
                    <a:pt x="554873" y="352646"/>
                  </a:lnTo>
                  <a:cubicBezTo>
                    <a:pt x="555779" y="344397"/>
                    <a:pt x="556247" y="336018"/>
                    <a:pt x="556247" y="327536"/>
                  </a:cubicBezTo>
                  <a:cubicBezTo>
                    <a:pt x="556247" y="201414"/>
                    <a:pt x="453648" y="98815"/>
                    <a:pt x="327526" y="98815"/>
                  </a:cubicBezTo>
                  <a:cubicBezTo>
                    <a:pt x="201415" y="98815"/>
                    <a:pt x="98816" y="201414"/>
                    <a:pt x="98816" y="327536"/>
                  </a:cubicBezTo>
                  <a:cubicBezTo>
                    <a:pt x="98816" y="430462"/>
                    <a:pt x="167168" y="517731"/>
                    <a:pt x="260855" y="546344"/>
                  </a:cubicBezTo>
                  <a:lnTo>
                    <a:pt x="93510" y="546344"/>
                  </a:lnTo>
                  <a:cubicBezTo>
                    <a:pt x="46456" y="496049"/>
                    <a:pt x="15376" y="430639"/>
                    <a:pt x="8464" y="358279"/>
                  </a:cubicBezTo>
                  <a:lnTo>
                    <a:pt x="43111" y="358279"/>
                  </a:lnTo>
                  <a:lnTo>
                    <a:pt x="43111" y="352646"/>
                  </a:lnTo>
                  <a:lnTo>
                    <a:pt x="7978" y="352646"/>
                  </a:lnTo>
                  <a:cubicBezTo>
                    <a:pt x="7333" y="344360"/>
                    <a:pt x="7006" y="335980"/>
                    <a:pt x="7006" y="327536"/>
                  </a:cubicBezTo>
                  <a:cubicBezTo>
                    <a:pt x="7006" y="263910"/>
                    <a:pt x="25634" y="204563"/>
                    <a:pt x="57731" y="154650"/>
                  </a:cubicBezTo>
                  <a:lnTo>
                    <a:pt x="128167" y="84215"/>
                  </a:lnTo>
                  <a:lnTo>
                    <a:pt x="124178" y="80235"/>
                  </a:lnTo>
                  <a:lnTo>
                    <a:pt x="78619" y="125794"/>
                  </a:lnTo>
                  <a:cubicBezTo>
                    <a:pt x="96518" y="103757"/>
                    <a:pt x="117303" y="84112"/>
                    <a:pt x="140349" y="67474"/>
                  </a:cubicBezTo>
                  <a:cubicBezTo>
                    <a:pt x="139293" y="69838"/>
                    <a:pt x="138704" y="72463"/>
                    <a:pt x="138704" y="75218"/>
                  </a:cubicBezTo>
                  <a:cubicBezTo>
                    <a:pt x="138704" y="85728"/>
                    <a:pt x="147224" y="94238"/>
                    <a:pt x="157724" y="94238"/>
                  </a:cubicBezTo>
                  <a:cubicBezTo>
                    <a:pt x="168233" y="94238"/>
                    <a:pt x="176753" y="85728"/>
                    <a:pt x="176753" y="75218"/>
                  </a:cubicBezTo>
                  <a:cubicBezTo>
                    <a:pt x="176753" y="64719"/>
                    <a:pt x="168233" y="56199"/>
                    <a:pt x="157724" y="56199"/>
                  </a:cubicBezTo>
                  <a:cubicBezTo>
                    <a:pt x="157490" y="56199"/>
                    <a:pt x="157257" y="56208"/>
                    <a:pt x="157033" y="56208"/>
                  </a:cubicBezTo>
                  <a:cubicBezTo>
                    <a:pt x="206440" y="25054"/>
                    <a:pt x="264919" y="7006"/>
                    <a:pt x="327526" y="7006"/>
                  </a:cubicBezTo>
                  <a:cubicBezTo>
                    <a:pt x="504261" y="7006"/>
                    <a:pt x="648056" y="150792"/>
                    <a:pt x="648056" y="327536"/>
                  </a:cubicBezTo>
                  <a:cubicBezTo>
                    <a:pt x="648056" y="412040"/>
                    <a:pt x="615183" y="489015"/>
                    <a:pt x="561553" y="546344"/>
                  </a:cubicBezTo>
                  <a:close/>
                  <a:moveTo>
                    <a:pt x="367294" y="56199"/>
                  </a:moveTo>
                  <a:cubicBezTo>
                    <a:pt x="356784" y="56199"/>
                    <a:pt x="348274" y="64719"/>
                    <a:pt x="348274" y="75218"/>
                  </a:cubicBezTo>
                  <a:cubicBezTo>
                    <a:pt x="348274" y="85728"/>
                    <a:pt x="356784" y="94238"/>
                    <a:pt x="367294" y="94238"/>
                  </a:cubicBezTo>
                  <a:cubicBezTo>
                    <a:pt x="377794" y="94238"/>
                    <a:pt x="386313" y="85728"/>
                    <a:pt x="386313" y="75218"/>
                  </a:cubicBezTo>
                  <a:cubicBezTo>
                    <a:pt x="386313" y="64719"/>
                    <a:pt x="377794" y="56199"/>
                    <a:pt x="367294" y="56199"/>
                  </a:cubicBezTo>
                  <a:close/>
                  <a:moveTo>
                    <a:pt x="297437" y="56199"/>
                  </a:moveTo>
                  <a:cubicBezTo>
                    <a:pt x="286928" y="56199"/>
                    <a:pt x="278418" y="64719"/>
                    <a:pt x="278418" y="75218"/>
                  </a:cubicBezTo>
                  <a:cubicBezTo>
                    <a:pt x="278418" y="85728"/>
                    <a:pt x="286928" y="94238"/>
                    <a:pt x="297437" y="94238"/>
                  </a:cubicBezTo>
                  <a:cubicBezTo>
                    <a:pt x="307937" y="94238"/>
                    <a:pt x="316457" y="85728"/>
                    <a:pt x="316457" y="75218"/>
                  </a:cubicBezTo>
                  <a:cubicBezTo>
                    <a:pt x="316457" y="64719"/>
                    <a:pt x="307937" y="56199"/>
                    <a:pt x="297437" y="56199"/>
                  </a:cubicBezTo>
                  <a:close/>
                  <a:moveTo>
                    <a:pt x="227580" y="56199"/>
                  </a:moveTo>
                  <a:cubicBezTo>
                    <a:pt x="217081" y="56199"/>
                    <a:pt x="208561" y="64719"/>
                    <a:pt x="208561" y="75218"/>
                  </a:cubicBezTo>
                  <a:cubicBezTo>
                    <a:pt x="208561" y="85728"/>
                    <a:pt x="217081" y="94238"/>
                    <a:pt x="227580" y="94238"/>
                  </a:cubicBezTo>
                  <a:cubicBezTo>
                    <a:pt x="238080" y="94238"/>
                    <a:pt x="246600" y="85728"/>
                    <a:pt x="246600" y="75218"/>
                  </a:cubicBezTo>
                  <a:cubicBezTo>
                    <a:pt x="246600" y="64719"/>
                    <a:pt x="238080" y="56199"/>
                    <a:pt x="227580" y="56199"/>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8" name="Freeform: Shape 13367">
              <a:extLst>
                <a:ext uri="{FF2B5EF4-FFF2-40B4-BE49-F238E27FC236}">
                  <a16:creationId xmlns:a16="http://schemas.microsoft.com/office/drawing/2014/main" id="{8344BF1C-6BEB-4867-A149-B5E5B25B65DC}"/>
                </a:ext>
              </a:extLst>
            </p:cNvPr>
            <p:cNvSpPr/>
            <p:nvPr/>
          </p:nvSpPr>
          <p:spPr bwMode="ltGray">
            <a:xfrm>
              <a:off x="4050056" y="2825680"/>
              <a:ext cx="51566" cy="51566"/>
            </a:xfrm>
            <a:custGeom>
              <a:avLst/>
              <a:gdLst>
                <a:gd name="connsiteX0" fmla="*/ 26026 w 51565"/>
                <a:gd name="connsiteY0" fmla="*/ 45045 h 51565"/>
                <a:gd name="connsiteX1" fmla="*/ 7006 w 51565"/>
                <a:gd name="connsiteY1" fmla="*/ 26026 h 51565"/>
                <a:gd name="connsiteX2" fmla="*/ 8651 w 51565"/>
                <a:gd name="connsiteY2" fmla="*/ 18282 h 51565"/>
                <a:gd name="connsiteX3" fmla="*/ 25335 w 51565"/>
                <a:gd name="connsiteY3" fmla="*/ 7016 h 51565"/>
                <a:gd name="connsiteX4" fmla="*/ 26026 w 51565"/>
                <a:gd name="connsiteY4" fmla="*/ 7006 h 51565"/>
                <a:gd name="connsiteX5" fmla="*/ 45055 w 51565"/>
                <a:gd name="connsiteY5" fmla="*/ 26026 h 51565"/>
                <a:gd name="connsiteX6" fmla="*/ 26026 w 51565"/>
                <a:gd name="connsiteY6" fmla="*/ 45045 h 51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65" h="51565">
                  <a:moveTo>
                    <a:pt x="26026" y="45045"/>
                  </a:moveTo>
                  <a:cubicBezTo>
                    <a:pt x="15526" y="45045"/>
                    <a:pt x="7006" y="36535"/>
                    <a:pt x="7006" y="26026"/>
                  </a:cubicBezTo>
                  <a:cubicBezTo>
                    <a:pt x="7006" y="23270"/>
                    <a:pt x="7595" y="20645"/>
                    <a:pt x="8651" y="18282"/>
                  </a:cubicBezTo>
                  <a:cubicBezTo>
                    <a:pt x="14087" y="14358"/>
                    <a:pt x="19646" y="10603"/>
                    <a:pt x="25335" y="7016"/>
                  </a:cubicBezTo>
                  <a:cubicBezTo>
                    <a:pt x="25559" y="7016"/>
                    <a:pt x="25792" y="7006"/>
                    <a:pt x="26026" y="7006"/>
                  </a:cubicBezTo>
                  <a:cubicBezTo>
                    <a:pt x="36535" y="7006"/>
                    <a:pt x="45055" y="15526"/>
                    <a:pt x="45055" y="26026"/>
                  </a:cubicBezTo>
                  <a:cubicBezTo>
                    <a:pt x="45055" y="36535"/>
                    <a:pt x="36535" y="45045"/>
                    <a:pt x="26026" y="45045"/>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69" name="Freeform: Shape 13368">
              <a:extLst>
                <a:ext uri="{FF2B5EF4-FFF2-40B4-BE49-F238E27FC236}">
                  <a16:creationId xmlns:a16="http://schemas.microsoft.com/office/drawing/2014/main" id="{353450B1-037A-463E-93A9-204F588D3F15}"/>
                </a:ext>
              </a:extLst>
            </p:cNvPr>
            <p:cNvSpPr/>
            <p:nvPr/>
          </p:nvSpPr>
          <p:spPr bwMode="ltGray">
            <a:xfrm>
              <a:off x="4119913" y="2825680"/>
              <a:ext cx="51566" cy="51566"/>
            </a:xfrm>
            <a:custGeom>
              <a:avLst/>
              <a:gdLst>
                <a:gd name="connsiteX0" fmla="*/ 26026 w 51565"/>
                <a:gd name="connsiteY0" fmla="*/ 45045 h 51565"/>
                <a:gd name="connsiteX1" fmla="*/ 7006 w 51565"/>
                <a:gd name="connsiteY1" fmla="*/ 26026 h 51565"/>
                <a:gd name="connsiteX2" fmla="*/ 26026 w 51565"/>
                <a:gd name="connsiteY2" fmla="*/ 7006 h 51565"/>
                <a:gd name="connsiteX3" fmla="*/ 45045 w 51565"/>
                <a:gd name="connsiteY3" fmla="*/ 26026 h 51565"/>
                <a:gd name="connsiteX4" fmla="*/ 26026 w 51565"/>
                <a:gd name="connsiteY4" fmla="*/ 45045 h 51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 h="51565">
                  <a:moveTo>
                    <a:pt x="26026" y="45045"/>
                  </a:moveTo>
                  <a:cubicBezTo>
                    <a:pt x="15526" y="45045"/>
                    <a:pt x="7006" y="36535"/>
                    <a:pt x="7006" y="26026"/>
                  </a:cubicBezTo>
                  <a:cubicBezTo>
                    <a:pt x="7006" y="15526"/>
                    <a:pt x="15526" y="7006"/>
                    <a:pt x="26026" y="7006"/>
                  </a:cubicBezTo>
                  <a:cubicBezTo>
                    <a:pt x="36525" y="7006"/>
                    <a:pt x="45045" y="15526"/>
                    <a:pt x="45045" y="26026"/>
                  </a:cubicBezTo>
                  <a:cubicBezTo>
                    <a:pt x="45045" y="36535"/>
                    <a:pt x="36525" y="45045"/>
                    <a:pt x="26026" y="45045"/>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0" name="Freeform: Shape 13369">
              <a:extLst>
                <a:ext uri="{FF2B5EF4-FFF2-40B4-BE49-F238E27FC236}">
                  <a16:creationId xmlns:a16="http://schemas.microsoft.com/office/drawing/2014/main" id="{B61AE524-7871-4E1A-B6C5-BEC6D5344BC0}"/>
                </a:ext>
              </a:extLst>
            </p:cNvPr>
            <p:cNvSpPr/>
            <p:nvPr/>
          </p:nvSpPr>
          <p:spPr bwMode="ltGray">
            <a:xfrm>
              <a:off x="4189770" y="2825680"/>
              <a:ext cx="51566" cy="51566"/>
            </a:xfrm>
            <a:custGeom>
              <a:avLst/>
              <a:gdLst>
                <a:gd name="connsiteX0" fmla="*/ 26026 w 51565"/>
                <a:gd name="connsiteY0" fmla="*/ 45045 h 51565"/>
                <a:gd name="connsiteX1" fmla="*/ 7006 w 51565"/>
                <a:gd name="connsiteY1" fmla="*/ 26026 h 51565"/>
                <a:gd name="connsiteX2" fmla="*/ 26026 w 51565"/>
                <a:gd name="connsiteY2" fmla="*/ 7006 h 51565"/>
                <a:gd name="connsiteX3" fmla="*/ 45045 w 51565"/>
                <a:gd name="connsiteY3" fmla="*/ 26026 h 51565"/>
                <a:gd name="connsiteX4" fmla="*/ 26026 w 51565"/>
                <a:gd name="connsiteY4" fmla="*/ 45045 h 51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 h="51565">
                  <a:moveTo>
                    <a:pt x="26026" y="45045"/>
                  </a:moveTo>
                  <a:cubicBezTo>
                    <a:pt x="15516" y="45045"/>
                    <a:pt x="7006" y="36535"/>
                    <a:pt x="7006" y="26026"/>
                  </a:cubicBezTo>
                  <a:cubicBezTo>
                    <a:pt x="7006" y="15526"/>
                    <a:pt x="15516" y="7006"/>
                    <a:pt x="26026" y="7006"/>
                  </a:cubicBezTo>
                  <a:cubicBezTo>
                    <a:pt x="36525" y="7006"/>
                    <a:pt x="45045" y="15526"/>
                    <a:pt x="45045" y="26026"/>
                  </a:cubicBezTo>
                  <a:cubicBezTo>
                    <a:pt x="45045" y="36535"/>
                    <a:pt x="36525" y="45045"/>
                    <a:pt x="26026" y="45045"/>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1" name="Freeform: Shape 13370">
              <a:extLst>
                <a:ext uri="{FF2B5EF4-FFF2-40B4-BE49-F238E27FC236}">
                  <a16:creationId xmlns:a16="http://schemas.microsoft.com/office/drawing/2014/main" id="{E61EEAB4-D2A5-4AA3-B09A-915DF29011D6}"/>
                </a:ext>
              </a:extLst>
            </p:cNvPr>
            <p:cNvSpPr/>
            <p:nvPr/>
          </p:nvSpPr>
          <p:spPr bwMode="ltGray">
            <a:xfrm>
              <a:off x="4259626" y="2825680"/>
              <a:ext cx="51566" cy="51566"/>
            </a:xfrm>
            <a:custGeom>
              <a:avLst/>
              <a:gdLst>
                <a:gd name="connsiteX0" fmla="*/ 26026 w 51565"/>
                <a:gd name="connsiteY0" fmla="*/ 45045 h 51565"/>
                <a:gd name="connsiteX1" fmla="*/ 7006 w 51565"/>
                <a:gd name="connsiteY1" fmla="*/ 26026 h 51565"/>
                <a:gd name="connsiteX2" fmla="*/ 26026 w 51565"/>
                <a:gd name="connsiteY2" fmla="*/ 7006 h 51565"/>
                <a:gd name="connsiteX3" fmla="*/ 45045 w 51565"/>
                <a:gd name="connsiteY3" fmla="*/ 26026 h 51565"/>
                <a:gd name="connsiteX4" fmla="*/ 26026 w 51565"/>
                <a:gd name="connsiteY4" fmla="*/ 45045 h 51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 h="51565">
                  <a:moveTo>
                    <a:pt x="26026" y="45045"/>
                  </a:moveTo>
                  <a:cubicBezTo>
                    <a:pt x="15516" y="45045"/>
                    <a:pt x="7006" y="36535"/>
                    <a:pt x="7006" y="26026"/>
                  </a:cubicBezTo>
                  <a:cubicBezTo>
                    <a:pt x="7006" y="15526"/>
                    <a:pt x="15516" y="7006"/>
                    <a:pt x="26026" y="7006"/>
                  </a:cubicBezTo>
                  <a:cubicBezTo>
                    <a:pt x="36526" y="7006"/>
                    <a:pt x="45045" y="15526"/>
                    <a:pt x="45045" y="26026"/>
                  </a:cubicBezTo>
                  <a:cubicBezTo>
                    <a:pt x="45045" y="36535"/>
                    <a:pt x="36526" y="45045"/>
                    <a:pt x="26026" y="45045"/>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2" name="Freeform: Shape 13371">
              <a:extLst>
                <a:ext uri="{FF2B5EF4-FFF2-40B4-BE49-F238E27FC236}">
                  <a16:creationId xmlns:a16="http://schemas.microsoft.com/office/drawing/2014/main" id="{5F500D42-2782-4F01-A8D3-0E688767F665}"/>
                </a:ext>
              </a:extLst>
            </p:cNvPr>
            <p:cNvSpPr/>
            <p:nvPr/>
          </p:nvSpPr>
          <p:spPr bwMode="ltGray">
            <a:xfrm>
              <a:off x="3969083" y="2849716"/>
              <a:ext cx="82953" cy="87437"/>
            </a:xfrm>
            <a:custGeom>
              <a:avLst/>
              <a:gdLst>
                <a:gd name="connsiteX0" fmla="*/ 7006 w 82953"/>
                <a:gd name="connsiteY0" fmla="*/ 81422 h 87437"/>
                <a:gd name="connsiteX1" fmla="*/ 27894 w 82953"/>
                <a:gd name="connsiteY1" fmla="*/ 52565 h 87437"/>
                <a:gd name="connsiteX2" fmla="*/ 73453 w 82953"/>
                <a:gd name="connsiteY2" fmla="*/ 7006 h 87437"/>
                <a:gd name="connsiteX3" fmla="*/ 77442 w 82953"/>
                <a:gd name="connsiteY3" fmla="*/ 10986 h 87437"/>
                <a:gd name="connsiteX4" fmla="*/ 7006 w 82953"/>
                <a:gd name="connsiteY4" fmla="*/ 81422 h 87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53" h="87437">
                  <a:moveTo>
                    <a:pt x="7006" y="81422"/>
                  </a:moveTo>
                  <a:cubicBezTo>
                    <a:pt x="13443" y="71407"/>
                    <a:pt x="20421" y="61776"/>
                    <a:pt x="27894" y="52565"/>
                  </a:cubicBezTo>
                  <a:lnTo>
                    <a:pt x="73453" y="7006"/>
                  </a:lnTo>
                  <a:lnTo>
                    <a:pt x="77442" y="10986"/>
                  </a:lnTo>
                  <a:lnTo>
                    <a:pt x="7006" y="8142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3" name="Freeform: Shape 13372">
              <a:extLst>
                <a:ext uri="{FF2B5EF4-FFF2-40B4-BE49-F238E27FC236}">
                  <a16:creationId xmlns:a16="http://schemas.microsoft.com/office/drawing/2014/main" id="{6114D7B7-92F2-4ACF-A9EB-E20F84463FE0}"/>
                </a:ext>
              </a:extLst>
            </p:cNvPr>
            <p:cNvSpPr/>
            <p:nvPr/>
          </p:nvSpPr>
          <p:spPr bwMode="ltGray">
            <a:xfrm>
              <a:off x="4004862" y="3315825"/>
              <a:ext cx="482027" cy="29146"/>
            </a:xfrm>
            <a:custGeom>
              <a:avLst/>
              <a:gdLst>
                <a:gd name="connsiteX0" fmla="*/ 458038 w 482027"/>
                <a:gd name="connsiteY0" fmla="*/ 23887 h 29145"/>
                <a:gd name="connsiteX1" fmla="*/ 24017 w 482027"/>
                <a:gd name="connsiteY1" fmla="*/ 23887 h 29145"/>
                <a:gd name="connsiteX2" fmla="*/ 7006 w 482027"/>
                <a:gd name="connsiteY2" fmla="*/ 7006 h 29145"/>
                <a:gd name="connsiteX3" fmla="*/ 174352 w 482027"/>
                <a:gd name="connsiteY3" fmla="*/ 7006 h 29145"/>
                <a:gd name="connsiteX4" fmla="*/ 241023 w 482027"/>
                <a:gd name="connsiteY4" fmla="*/ 16918 h 29145"/>
                <a:gd name="connsiteX5" fmla="*/ 307694 w 482027"/>
                <a:gd name="connsiteY5" fmla="*/ 7006 h 29145"/>
                <a:gd name="connsiteX6" fmla="*/ 475049 w 482027"/>
                <a:gd name="connsiteY6" fmla="*/ 7006 h 29145"/>
                <a:gd name="connsiteX7" fmla="*/ 458038 w 482027"/>
                <a:gd name="connsiteY7" fmla="*/ 23887 h 29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027" h="29145">
                  <a:moveTo>
                    <a:pt x="458038" y="23887"/>
                  </a:moveTo>
                  <a:lnTo>
                    <a:pt x="24017" y="23887"/>
                  </a:lnTo>
                  <a:cubicBezTo>
                    <a:pt x="18141" y="18478"/>
                    <a:pt x="12462" y="12835"/>
                    <a:pt x="7006" y="7006"/>
                  </a:cubicBezTo>
                  <a:lnTo>
                    <a:pt x="174352" y="7006"/>
                  </a:lnTo>
                  <a:cubicBezTo>
                    <a:pt x="195455" y="13452"/>
                    <a:pt x="217837" y="16918"/>
                    <a:pt x="241023" y="16918"/>
                  </a:cubicBezTo>
                  <a:cubicBezTo>
                    <a:pt x="264209" y="16918"/>
                    <a:pt x="286591" y="13452"/>
                    <a:pt x="307694" y="7006"/>
                  </a:cubicBezTo>
                  <a:lnTo>
                    <a:pt x="475049" y="7006"/>
                  </a:lnTo>
                  <a:cubicBezTo>
                    <a:pt x="469594" y="12835"/>
                    <a:pt x="463914" y="18478"/>
                    <a:pt x="458038" y="23887"/>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4" name="Freeform: Shape 13373">
              <a:extLst>
                <a:ext uri="{FF2B5EF4-FFF2-40B4-BE49-F238E27FC236}">
                  <a16:creationId xmlns:a16="http://schemas.microsoft.com/office/drawing/2014/main" id="{EEDAF40D-0DD6-48FB-8358-B6B263A6201C}"/>
                </a:ext>
              </a:extLst>
            </p:cNvPr>
            <p:cNvSpPr/>
            <p:nvPr/>
          </p:nvSpPr>
          <p:spPr bwMode="ltGray">
            <a:xfrm>
              <a:off x="4465534" y="3122127"/>
              <a:ext cx="42598" cy="17936"/>
            </a:xfrm>
            <a:custGeom>
              <a:avLst/>
              <a:gdLst>
                <a:gd name="connsiteX0" fmla="*/ 36227 w 42597"/>
                <a:gd name="connsiteY0" fmla="*/ 12639 h 17935"/>
                <a:gd name="connsiteX1" fmla="*/ 7006 w 42597"/>
                <a:gd name="connsiteY1" fmla="*/ 12639 h 17935"/>
                <a:gd name="connsiteX2" fmla="*/ 7698 w 42597"/>
                <a:gd name="connsiteY2" fmla="*/ 7006 h 17935"/>
                <a:gd name="connsiteX3" fmla="*/ 36227 w 42597"/>
                <a:gd name="connsiteY3" fmla="*/ 7006 h 17935"/>
                <a:gd name="connsiteX4" fmla="*/ 36227 w 42597"/>
                <a:gd name="connsiteY4" fmla="*/ 12639 h 17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7" h="17935">
                  <a:moveTo>
                    <a:pt x="36227" y="12639"/>
                  </a:moveTo>
                  <a:lnTo>
                    <a:pt x="7006" y="12639"/>
                  </a:lnTo>
                  <a:cubicBezTo>
                    <a:pt x="7259" y="10771"/>
                    <a:pt x="7492" y="8884"/>
                    <a:pt x="7698" y="7006"/>
                  </a:cubicBezTo>
                  <a:lnTo>
                    <a:pt x="36227" y="7006"/>
                  </a:lnTo>
                  <a:lnTo>
                    <a:pt x="36227"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5" name="Freeform: Shape 13374">
              <a:extLst>
                <a:ext uri="{FF2B5EF4-FFF2-40B4-BE49-F238E27FC236}">
                  <a16:creationId xmlns:a16="http://schemas.microsoft.com/office/drawing/2014/main" id="{D75F7643-8B49-488B-BC61-3449A920961B}"/>
                </a:ext>
              </a:extLst>
            </p:cNvPr>
            <p:cNvSpPr/>
            <p:nvPr/>
          </p:nvSpPr>
          <p:spPr bwMode="ltGray">
            <a:xfrm>
              <a:off x="3919330" y="3122127"/>
              <a:ext cx="47082" cy="17936"/>
            </a:xfrm>
            <a:custGeom>
              <a:avLst/>
              <a:gdLst>
                <a:gd name="connsiteX0" fmla="*/ 42140 w 47081"/>
                <a:gd name="connsiteY0" fmla="*/ 12639 h 17935"/>
                <a:gd name="connsiteX1" fmla="*/ 7492 w 47081"/>
                <a:gd name="connsiteY1" fmla="*/ 12639 h 17935"/>
                <a:gd name="connsiteX2" fmla="*/ 7006 w 47081"/>
                <a:gd name="connsiteY2" fmla="*/ 7006 h 17935"/>
                <a:gd name="connsiteX3" fmla="*/ 42140 w 47081"/>
                <a:gd name="connsiteY3" fmla="*/ 7006 h 17935"/>
                <a:gd name="connsiteX4" fmla="*/ 42140 w 47081"/>
                <a:gd name="connsiteY4" fmla="*/ 12639 h 17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81" h="17935">
                  <a:moveTo>
                    <a:pt x="42140" y="12639"/>
                  </a:moveTo>
                  <a:lnTo>
                    <a:pt x="7492" y="12639"/>
                  </a:lnTo>
                  <a:cubicBezTo>
                    <a:pt x="7314" y="10761"/>
                    <a:pt x="7156" y="8893"/>
                    <a:pt x="7006" y="7006"/>
                  </a:cubicBezTo>
                  <a:lnTo>
                    <a:pt x="42140" y="7006"/>
                  </a:lnTo>
                  <a:lnTo>
                    <a:pt x="42140"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6" name="Freeform: Shape 13375">
              <a:extLst>
                <a:ext uri="{FF2B5EF4-FFF2-40B4-BE49-F238E27FC236}">
                  <a16:creationId xmlns:a16="http://schemas.microsoft.com/office/drawing/2014/main" id="{1EE62D92-C13E-4544-98C6-EB5B35F91B1F}"/>
                </a:ext>
              </a:extLst>
            </p:cNvPr>
            <p:cNvSpPr/>
            <p:nvPr/>
          </p:nvSpPr>
          <p:spPr bwMode="ltGray">
            <a:xfrm>
              <a:off x="578618" y="2372929"/>
              <a:ext cx="2674690" cy="304910"/>
            </a:xfrm>
            <a:custGeom>
              <a:avLst/>
              <a:gdLst>
                <a:gd name="connsiteX0" fmla="*/ 2375125 w 2674689"/>
                <a:gd name="connsiteY0" fmla="*/ 299660 h 304910"/>
                <a:gd name="connsiteX1" fmla="*/ 1962786 w 2674689"/>
                <a:gd name="connsiteY1" fmla="*/ 299660 h 304910"/>
                <a:gd name="connsiteX2" fmla="*/ 1921048 w 2674689"/>
                <a:gd name="connsiteY2" fmla="*/ 227366 h 304910"/>
                <a:gd name="connsiteX3" fmla="*/ 1475518 w 2674689"/>
                <a:gd name="connsiteY3" fmla="*/ 227366 h 304910"/>
                <a:gd name="connsiteX4" fmla="*/ 1433780 w 2674689"/>
                <a:gd name="connsiteY4" fmla="*/ 299660 h 304910"/>
                <a:gd name="connsiteX5" fmla="*/ 691485 w 2674689"/>
                <a:gd name="connsiteY5" fmla="*/ 299660 h 304910"/>
                <a:gd name="connsiteX6" fmla="*/ 569344 w 2674689"/>
                <a:gd name="connsiteY6" fmla="*/ 235708 h 304910"/>
                <a:gd name="connsiteX7" fmla="*/ 447193 w 2674689"/>
                <a:gd name="connsiteY7" fmla="*/ 299660 h 304910"/>
                <a:gd name="connsiteX8" fmla="*/ 7006 w 2674689"/>
                <a:gd name="connsiteY8" fmla="*/ 299660 h 304910"/>
                <a:gd name="connsiteX9" fmla="*/ 121777 w 2674689"/>
                <a:gd name="connsiteY9" fmla="*/ 184889 h 304910"/>
                <a:gd name="connsiteX10" fmla="*/ 2327585 w 2674689"/>
                <a:gd name="connsiteY10" fmla="*/ 184889 h 304910"/>
                <a:gd name="connsiteX11" fmla="*/ 2481825 w 2674689"/>
                <a:gd name="connsiteY11" fmla="*/ 30650 h 304910"/>
                <a:gd name="connsiteX12" fmla="*/ 2535231 w 2674689"/>
                <a:gd name="connsiteY12" fmla="*/ 30650 h 304910"/>
                <a:gd name="connsiteX13" fmla="*/ 2558875 w 2674689"/>
                <a:gd name="connsiteY13" fmla="*/ 7006 h 304910"/>
                <a:gd name="connsiteX14" fmla="*/ 2667770 w 2674689"/>
                <a:gd name="connsiteY14" fmla="*/ 7006 h 304910"/>
                <a:gd name="connsiteX15" fmla="*/ 2375125 w 2674689"/>
                <a:gd name="connsiteY15" fmla="*/ 299660 h 304910"/>
                <a:gd name="connsiteX16" fmla="*/ 1943514 w 2674689"/>
                <a:gd name="connsiteY16" fmla="*/ 299660 h 304910"/>
                <a:gd name="connsiteX17" fmla="*/ 1453042 w 2674689"/>
                <a:gd name="connsiteY17" fmla="*/ 299660 h 304910"/>
                <a:gd name="connsiteX18" fmla="*/ 1485149 w 2674689"/>
                <a:gd name="connsiteY18" fmla="*/ 244050 h 304910"/>
                <a:gd name="connsiteX19" fmla="*/ 1911407 w 2674689"/>
                <a:gd name="connsiteY19" fmla="*/ 244050 h 304910"/>
                <a:gd name="connsiteX20" fmla="*/ 1943514 w 2674689"/>
                <a:gd name="connsiteY20" fmla="*/ 299660 h 304910"/>
                <a:gd name="connsiteX21" fmla="*/ 655025 w 2674689"/>
                <a:gd name="connsiteY21" fmla="*/ 299660 h 304910"/>
                <a:gd name="connsiteX22" fmla="*/ 483653 w 2674689"/>
                <a:gd name="connsiteY22" fmla="*/ 299660 h 304910"/>
                <a:gd name="connsiteX23" fmla="*/ 569344 w 2674689"/>
                <a:gd name="connsiteY23" fmla="*/ 263845 h 304910"/>
                <a:gd name="connsiteX24" fmla="*/ 655025 w 2674689"/>
                <a:gd name="connsiteY24" fmla="*/ 299660 h 304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74689" h="304910">
                  <a:moveTo>
                    <a:pt x="2375125" y="299660"/>
                  </a:moveTo>
                  <a:lnTo>
                    <a:pt x="1962786" y="299660"/>
                  </a:lnTo>
                  <a:lnTo>
                    <a:pt x="1921048" y="227366"/>
                  </a:lnTo>
                  <a:lnTo>
                    <a:pt x="1475518" y="227366"/>
                  </a:lnTo>
                  <a:lnTo>
                    <a:pt x="1433780" y="299660"/>
                  </a:lnTo>
                  <a:lnTo>
                    <a:pt x="691485" y="299660"/>
                  </a:lnTo>
                  <a:cubicBezTo>
                    <a:pt x="664591" y="261033"/>
                    <a:pt x="619872" y="235708"/>
                    <a:pt x="569344" y="235708"/>
                  </a:cubicBezTo>
                  <a:cubicBezTo>
                    <a:pt x="518805" y="235708"/>
                    <a:pt x="474087" y="261033"/>
                    <a:pt x="447193" y="299660"/>
                  </a:cubicBezTo>
                  <a:lnTo>
                    <a:pt x="7006" y="299660"/>
                  </a:lnTo>
                  <a:lnTo>
                    <a:pt x="121777" y="184889"/>
                  </a:lnTo>
                  <a:lnTo>
                    <a:pt x="2327585" y="184889"/>
                  </a:lnTo>
                  <a:lnTo>
                    <a:pt x="2481825" y="30650"/>
                  </a:lnTo>
                  <a:lnTo>
                    <a:pt x="2535231" y="30650"/>
                  </a:lnTo>
                  <a:lnTo>
                    <a:pt x="2558875" y="7006"/>
                  </a:lnTo>
                  <a:lnTo>
                    <a:pt x="2667770" y="7006"/>
                  </a:lnTo>
                  <a:lnTo>
                    <a:pt x="2375125" y="299660"/>
                  </a:lnTo>
                  <a:close/>
                  <a:moveTo>
                    <a:pt x="1943514" y="299660"/>
                  </a:moveTo>
                  <a:lnTo>
                    <a:pt x="1453042" y="299660"/>
                  </a:lnTo>
                  <a:lnTo>
                    <a:pt x="1485149" y="244050"/>
                  </a:lnTo>
                  <a:lnTo>
                    <a:pt x="1911407" y="244050"/>
                  </a:lnTo>
                  <a:lnTo>
                    <a:pt x="1943514" y="299660"/>
                  </a:lnTo>
                  <a:close/>
                  <a:moveTo>
                    <a:pt x="655025" y="299660"/>
                  </a:moveTo>
                  <a:lnTo>
                    <a:pt x="483653" y="299660"/>
                  </a:lnTo>
                  <a:cubicBezTo>
                    <a:pt x="505531" y="277558"/>
                    <a:pt x="535863" y="263845"/>
                    <a:pt x="569344" y="263845"/>
                  </a:cubicBezTo>
                  <a:cubicBezTo>
                    <a:pt x="602815" y="263845"/>
                    <a:pt x="633156" y="277558"/>
                    <a:pt x="655025" y="299660"/>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7" name="Freeform: Shape 13376">
              <a:extLst>
                <a:ext uri="{FF2B5EF4-FFF2-40B4-BE49-F238E27FC236}">
                  <a16:creationId xmlns:a16="http://schemas.microsoft.com/office/drawing/2014/main" id="{1DD531D3-AA17-4197-A220-38C03F891F4B}"/>
                </a:ext>
              </a:extLst>
            </p:cNvPr>
            <p:cNvSpPr/>
            <p:nvPr/>
          </p:nvSpPr>
          <p:spPr bwMode="ltGray">
            <a:xfrm>
              <a:off x="2005391" y="2593288"/>
              <a:ext cx="542561" cy="85195"/>
            </a:xfrm>
            <a:custGeom>
              <a:avLst/>
              <a:gdLst>
                <a:gd name="connsiteX0" fmla="*/ 536013 w 542560"/>
                <a:gd name="connsiteY0" fmla="*/ 79301 h 85195"/>
                <a:gd name="connsiteX1" fmla="*/ 516741 w 542560"/>
                <a:gd name="connsiteY1" fmla="*/ 79301 h 85195"/>
                <a:gd name="connsiteX2" fmla="*/ 484634 w 542560"/>
                <a:gd name="connsiteY2" fmla="*/ 23690 h 85195"/>
                <a:gd name="connsiteX3" fmla="*/ 58376 w 542560"/>
                <a:gd name="connsiteY3" fmla="*/ 23690 h 85195"/>
                <a:gd name="connsiteX4" fmla="*/ 26269 w 542560"/>
                <a:gd name="connsiteY4" fmla="*/ 79301 h 85195"/>
                <a:gd name="connsiteX5" fmla="*/ 7006 w 542560"/>
                <a:gd name="connsiteY5" fmla="*/ 79301 h 85195"/>
                <a:gd name="connsiteX6" fmla="*/ 48745 w 542560"/>
                <a:gd name="connsiteY6" fmla="*/ 7006 h 85195"/>
                <a:gd name="connsiteX7" fmla="*/ 494274 w 542560"/>
                <a:gd name="connsiteY7" fmla="*/ 7006 h 85195"/>
                <a:gd name="connsiteX8" fmla="*/ 536013 w 542560"/>
                <a:gd name="connsiteY8" fmla="*/ 79301 h 8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2560" h="85195">
                  <a:moveTo>
                    <a:pt x="536013" y="79301"/>
                  </a:moveTo>
                  <a:lnTo>
                    <a:pt x="516741" y="79301"/>
                  </a:lnTo>
                  <a:lnTo>
                    <a:pt x="484634" y="23690"/>
                  </a:lnTo>
                  <a:lnTo>
                    <a:pt x="58376" y="23690"/>
                  </a:lnTo>
                  <a:lnTo>
                    <a:pt x="26269" y="79301"/>
                  </a:lnTo>
                  <a:lnTo>
                    <a:pt x="7006" y="79301"/>
                  </a:lnTo>
                  <a:lnTo>
                    <a:pt x="48745" y="7006"/>
                  </a:lnTo>
                  <a:lnTo>
                    <a:pt x="494274" y="7006"/>
                  </a:lnTo>
                  <a:lnTo>
                    <a:pt x="536013" y="7930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8" name="Freeform: Shape 13377">
              <a:extLst>
                <a:ext uri="{FF2B5EF4-FFF2-40B4-BE49-F238E27FC236}">
                  <a16:creationId xmlns:a16="http://schemas.microsoft.com/office/drawing/2014/main" id="{819B8437-E4A0-4C74-A40B-1B7AA88C28AF}"/>
                </a:ext>
              </a:extLst>
            </p:cNvPr>
            <p:cNvSpPr/>
            <p:nvPr/>
          </p:nvSpPr>
          <p:spPr bwMode="ltGray">
            <a:xfrm>
              <a:off x="1018804" y="2601630"/>
              <a:ext cx="257828" cy="76228"/>
            </a:xfrm>
            <a:custGeom>
              <a:avLst/>
              <a:gdLst>
                <a:gd name="connsiteX0" fmla="*/ 251299 w 257828"/>
                <a:gd name="connsiteY0" fmla="*/ 70959 h 76227"/>
                <a:gd name="connsiteX1" fmla="*/ 214839 w 257828"/>
                <a:gd name="connsiteY1" fmla="*/ 70959 h 76227"/>
                <a:gd name="connsiteX2" fmla="*/ 129157 w 257828"/>
                <a:gd name="connsiteY2" fmla="*/ 35143 h 76227"/>
                <a:gd name="connsiteX3" fmla="*/ 43467 w 257828"/>
                <a:gd name="connsiteY3" fmla="*/ 70959 h 76227"/>
                <a:gd name="connsiteX4" fmla="*/ 7006 w 257828"/>
                <a:gd name="connsiteY4" fmla="*/ 70959 h 76227"/>
                <a:gd name="connsiteX5" fmla="*/ 129157 w 257828"/>
                <a:gd name="connsiteY5" fmla="*/ 7006 h 76227"/>
                <a:gd name="connsiteX6" fmla="*/ 251299 w 257828"/>
                <a:gd name="connsiteY6" fmla="*/ 70959 h 76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828" h="76227">
                  <a:moveTo>
                    <a:pt x="251299" y="70959"/>
                  </a:moveTo>
                  <a:lnTo>
                    <a:pt x="214839" y="70959"/>
                  </a:lnTo>
                  <a:cubicBezTo>
                    <a:pt x="192970" y="48857"/>
                    <a:pt x="162628" y="35143"/>
                    <a:pt x="129157" y="35143"/>
                  </a:cubicBezTo>
                  <a:cubicBezTo>
                    <a:pt x="95677" y="35143"/>
                    <a:pt x="65345" y="48857"/>
                    <a:pt x="43467" y="70959"/>
                  </a:cubicBezTo>
                  <a:lnTo>
                    <a:pt x="7006" y="70959"/>
                  </a:lnTo>
                  <a:cubicBezTo>
                    <a:pt x="33901" y="32331"/>
                    <a:pt x="78619" y="7006"/>
                    <a:pt x="129157" y="7006"/>
                  </a:cubicBezTo>
                  <a:cubicBezTo>
                    <a:pt x="179686" y="7006"/>
                    <a:pt x="224404" y="32331"/>
                    <a:pt x="251299" y="70959"/>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79" name="Freeform: Shape 13378">
              <a:extLst>
                <a:ext uri="{FF2B5EF4-FFF2-40B4-BE49-F238E27FC236}">
                  <a16:creationId xmlns:a16="http://schemas.microsoft.com/office/drawing/2014/main" id="{154D122E-91B5-4DD2-A9F8-0DCA982FABEC}"/>
                </a:ext>
              </a:extLst>
            </p:cNvPr>
            <p:cNvSpPr/>
            <p:nvPr/>
          </p:nvSpPr>
          <p:spPr bwMode="ltGray">
            <a:xfrm>
              <a:off x="3061909" y="2372929"/>
              <a:ext cx="69502" cy="29146"/>
            </a:xfrm>
            <a:custGeom>
              <a:avLst/>
              <a:gdLst>
                <a:gd name="connsiteX0" fmla="*/ 48436 w 69501"/>
                <a:gd name="connsiteY0" fmla="*/ 22186 h 29145"/>
                <a:gd name="connsiteX1" fmla="*/ 7006 w 69501"/>
                <a:gd name="connsiteY1" fmla="*/ 22186 h 29145"/>
                <a:gd name="connsiteX2" fmla="*/ 22177 w 69501"/>
                <a:gd name="connsiteY2" fmla="*/ 7006 h 29145"/>
                <a:gd name="connsiteX3" fmla="*/ 63607 w 69501"/>
                <a:gd name="connsiteY3" fmla="*/ 7006 h 29145"/>
                <a:gd name="connsiteX4" fmla="*/ 48436 w 69501"/>
                <a:gd name="connsiteY4" fmla="*/ 22186 h 2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01" h="29145">
                  <a:moveTo>
                    <a:pt x="48436" y="22186"/>
                  </a:moveTo>
                  <a:lnTo>
                    <a:pt x="7006" y="22186"/>
                  </a:lnTo>
                  <a:lnTo>
                    <a:pt x="22177" y="7006"/>
                  </a:lnTo>
                  <a:lnTo>
                    <a:pt x="63607" y="7006"/>
                  </a:lnTo>
                  <a:lnTo>
                    <a:pt x="48436" y="22186"/>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0" name="Freeform: Shape 13379">
              <a:extLst>
                <a:ext uri="{FF2B5EF4-FFF2-40B4-BE49-F238E27FC236}">
                  <a16:creationId xmlns:a16="http://schemas.microsoft.com/office/drawing/2014/main" id="{4D300360-7DC5-4827-84D4-25100870E5BF}"/>
                </a:ext>
              </a:extLst>
            </p:cNvPr>
            <p:cNvSpPr/>
            <p:nvPr/>
          </p:nvSpPr>
          <p:spPr bwMode="ltGray">
            <a:xfrm>
              <a:off x="3053437" y="2372929"/>
              <a:ext cx="89679" cy="35872"/>
            </a:xfrm>
            <a:custGeom>
              <a:avLst/>
              <a:gdLst>
                <a:gd name="connsiteX0" fmla="*/ 60412 w 89679"/>
                <a:gd name="connsiteY0" fmla="*/ 30650 h 35871"/>
                <a:gd name="connsiteX1" fmla="*/ 7006 w 89679"/>
                <a:gd name="connsiteY1" fmla="*/ 30650 h 35871"/>
                <a:gd name="connsiteX2" fmla="*/ 15479 w 89679"/>
                <a:gd name="connsiteY2" fmla="*/ 22186 h 35871"/>
                <a:gd name="connsiteX3" fmla="*/ 56909 w 89679"/>
                <a:gd name="connsiteY3" fmla="*/ 22186 h 35871"/>
                <a:gd name="connsiteX4" fmla="*/ 72080 w 89679"/>
                <a:gd name="connsiteY4" fmla="*/ 7006 h 35871"/>
                <a:gd name="connsiteX5" fmla="*/ 84056 w 89679"/>
                <a:gd name="connsiteY5" fmla="*/ 7006 h 35871"/>
                <a:gd name="connsiteX6" fmla="*/ 60412 w 89679"/>
                <a:gd name="connsiteY6" fmla="*/ 30650 h 3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679" h="35871">
                  <a:moveTo>
                    <a:pt x="60412" y="30650"/>
                  </a:moveTo>
                  <a:lnTo>
                    <a:pt x="7006" y="30650"/>
                  </a:lnTo>
                  <a:lnTo>
                    <a:pt x="15479" y="22186"/>
                  </a:lnTo>
                  <a:lnTo>
                    <a:pt x="56909" y="22186"/>
                  </a:lnTo>
                  <a:lnTo>
                    <a:pt x="72080" y="7006"/>
                  </a:lnTo>
                  <a:lnTo>
                    <a:pt x="84056" y="7006"/>
                  </a:lnTo>
                  <a:lnTo>
                    <a:pt x="60412" y="3065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1" name="Freeform: Shape 13380">
              <a:extLst>
                <a:ext uri="{FF2B5EF4-FFF2-40B4-BE49-F238E27FC236}">
                  <a16:creationId xmlns:a16="http://schemas.microsoft.com/office/drawing/2014/main" id="{521CB059-D7E6-4CD2-866F-D5547DB5AA6B}"/>
                </a:ext>
              </a:extLst>
            </p:cNvPr>
            <p:cNvSpPr/>
            <p:nvPr/>
          </p:nvSpPr>
          <p:spPr bwMode="ltGray">
            <a:xfrm>
              <a:off x="-2860" y="2550812"/>
              <a:ext cx="701742" cy="127793"/>
            </a:xfrm>
            <a:custGeom>
              <a:avLst/>
              <a:gdLst>
                <a:gd name="connsiteX0" fmla="*/ 580525 w 701741"/>
                <a:gd name="connsiteY0" fmla="*/ 121777 h 127793"/>
                <a:gd name="connsiteX1" fmla="*/ 7006 w 701741"/>
                <a:gd name="connsiteY1" fmla="*/ 121777 h 127793"/>
                <a:gd name="connsiteX2" fmla="*/ 7006 w 701741"/>
                <a:gd name="connsiteY2" fmla="*/ 7006 h 127793"/>
                <a:gd name="connsiteX3" fmla="*/ 695287 w 701741"/>
                <a:gd name="connsiteY3" fmla="*/ 7006 h 127793"/>
                <a:gd name="connsiteX4" fmla="*/ 580525 w 701741"/>
                <a:gd name="connsiteY4" fmla="*/ 121777 h 127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1741" h="127793">
                  <a:moveTo>
                    <a:pt x="580525" y="121777"/>
                  </a:moveTo>
                  <a:lnTo>
                    <a:pt x="7006" y="121777"/>
                  </a:lnTo>
                  <a:lnTo>
                    <a:pt x="7006" y="7006"/>
                  </a:lnTo>
                  <a:lnTo>
                    <a:pt x="695287" y="7006"/>
                  </a:lnTo>
                  <a:lnTo>
                    <a:pt x="580525" y="121777"/>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2" name="Freeform: Shape 13381">
              <a:extLst>
                <a:ext uri="{FF2B5EF4-FFF2-40B4-BE49-F238E27FC236}">
                  <a16:creationId xmlns:a16="http://schemas.microsoft.com/office/drawing/2014/main" id="{618DDA9A-4E3F-453D-A856-4F7B4F4DE546}"/>
                </a:ext>
              </a:extLst>
            </p:cNvPr>
            <p:cNvSpPr/>
            <p:nvPr/>
          </p:nvSpPr>
          <p:spPr bwMode="ltGray">
            <a:xfrm>
              <a:off x="570659" y="2550812"/>
              <a:ext cx="134519" cy="127793"/>
            </a:xfrm>
            <a:custGeom>
              <a:avLst/>
              <a:gdLst>
                <a:gd name="connsiteX0" fmla="*/ 14965 w 134519"/>
                <a:gd name="connsiteY0" fmla="*/ 121777 h 127793"/>
                <a:gd name="connsiteX1" fmla="*/ 7006 w 134519"/>
                <a:gd name="connsiteY1" fmla="*/ 121777 h 127793"/>
                <a:gd name="connsiteX2" fmla="*/ 121768 w 134519"/>
                <a:gd name="connsiteY2" fmla="*/ 7006 h 127793"/>
                <a:gd name="connsiteX3" fmla="*/ 129736 w 134519"/>
                <a:gd name="connsiteY3" fmla="*/ 7006 h 127793"/>
                <a:gd name="connsiteX4" fmla="*/ 14965 w 134519"/>
                <a:gd name="connsiteY4" fmla="*/ 121777 h 127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519" h="127793">
                  <a:moveTo>
                    <a:pt x="14965" y="121777"/>
                  </a:moveTo>
                  <a:lnTo>
                    <a:pt x="7006" y="121777"/>
                  </a:lnTo>
                  <a:lnTo>
                    <a:pt x="121768" y="7006"/>
                  </a:lnTo>
                  <a:lnTo>
                    <a:pt x="129736" y="7006"/>
                  </a:lnTo>
                  <a:lnTo>
                    <a:pt x="14965" y="121777"/>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3" name="Freeform: Shape 13382">
              <a:extLst>
                <a:ext uri="{FF2B5EF4-FFF2-40B4-BE49-F238E27FC236}">
                  <a16:creationId xmlns:a16="http://schemas.microsoft.com/office/drawing/2014/main" id="{63AA2DA8-84C5-4CD6-B25E-772B274DB0B7}"/>
                </a:ext>
              </a:extLst>
            </p:cNvPr>
            <p:cNvSpPr/>
            <p:nvPr/>
          </p:nvSpPr>
          <p:spPr bwMode="ltGray">
            <a:xfrm>
              <a:off x="3111504" y="2113839"/>
              <a:ext cx="791421" cy="237651"/>
            </a:xfrm>
            <a:custGeom>
              <a:avLst/>
              <a:gdLst>
                <a:gd name="connsiteX0" fmla="*/ 169317 w 791421"/>
                <a:gd name="connsiteY0" fmla="*/ 231672 h 237650"/>
                <a:gd name="connsiteX1" fmla="*/ 60412 w 791421"/>
                <a:gd name="connsiteY1" fmla="*/ 231672 h 237650"/>
                <a:gd name="connsiteX2" fmla="*/ 85233 w 791421"/>
                <a:gd name="connsiteY2" fmla="*/ 206851 h 237650"/>
                <a:gd name="connsiteX3" fmla="*/ 194128 w 791421"/>
                <a:gd name="connsiteY3" fmla="*/ 206851 h 237650"/>
                <a:gd name="connsiteX4" fmla="*/ 169317 w 791421"/>
                <a:gd name="connsiteY4" fmla="*/ 231672 h 237650"/>
                <a:gd name="connsiteX5" fmla="*/ 48446 w 791421"/>
                <a:gd name="connsiteY5" fmla="*/ 231672 h 237650"/>
                <a:gd name="connsiteX6" fmla="*/ 7006 w 791421"/>
                <a:gd name="connsiteY6" fmla="*/ 231672 h 237650"/>
                <a:gd name="connsiteX7" fmla="*/ 231672 w 791421"/>
                <a:gd name="connsiteY7" fmla="*/ 7006 h 237650"/>
                <a:gd name="connsiteX8" fmla="*/ 785126 w 791421"/>
                <a:gd name="connsiteY8" fmla="*/ 7006 h 237650"/>
                <a:gd name="connsiteX9" fmla="*/ 670364 w 791421"/>
                <a:gd name="connsiteY9" fmla="*/ 121768 h 237650"/>
                <a:gd name="connsiteX10" fmla="*/ 279212 w 791421"/>
                <a:gd name="connsiteY10" fmla="*/ 121768 h 237650"/>
                <a:gd name="connsiteX11" fmla="*/ 202592 w 791421"/>
                <a:gd name="connsiteY11" fmla="*/ 198388 h 237650"/>
                <a:gd name="connsiteX12" fmla="*/ 81721 w 791421"/>
                <a:gd name="connsiteY12" fmla="*/ 198388 h 237650"/>
                <a:gd name="connsiteX13" fmla="*/ 48446 w 791421"/>
                <a:gd name="connsiteY13" fmla="*/ 231672 h 23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1421" h="237650">
                  <a:moveTo>
                    <a:pt x="169317" y="231672"/>
                  </a:moveTo>
                  <a:lnTo>
                    <a:pt x="60412" y="231672"/>
                  </a:lnTo>
                  <a:lnTo>
                    <a:pt x="85233" y="206851"/>
                  </a:lnTo>
                  <a:lnTo>
                    <a:pt x="194128" y="206851"/>
                  </a:lnTo>
                  <a:lnTo>
                    <a:pt x="169317" y="231672"/>
                  </a:lnTo>
                  <a:close/>
                  <a:moveTo>
                    <a:pt x="48446" y="231672"/>
                  </a:moveTo>
                  <a:lnTo>
                    <a:pt x="7006" y="231672"/>
                  </a:lnTo>
                  <a:lnTo>
                    <a:pt x="231672" y="7006"/>
                  </a:lnTo>
                  <a:lnTo>
                    <a:pt x="785126" y="7006"/>
                  </a:lnTo>
                  <a:lnTo>
                    <a:pt x="670364" y="121768"/>
                  </a:lnTo>
                  <a:lnTo>
                    <a:pt x="279212" y="121768"/>
                  </a:lnTo>
                  <a:lnTo>
                    <a:pt x="202592" y="198388"/>
                  </a:lnTo>
                  <a:lnTo>
                    <a:pt x="81721" y="198388"/>
                  </a:lnTo>
                  <a:lnTo>
                    <a:pt x="48446" y="231672"/>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4" name="Freeform: Shape 13383">
              <a:extLst>
                <a:ext uri="{FF2B5EF4-FFF2-40B4-BE49-F238E27FC236}">
                  <a16:creationId xmlns:a16="http://schemas.microsoft.com/office/drawing/2014/main" id="{C8CC7498-168D-437B-9DD5-574502937340}"/>
                </a:ext>
              </a:extLst>
            </p:cNvPr>
            <p:cNvSpPr/>
            <p:nvPr/>
          </p:nvSpPr>
          <p:spPr bwMode="ltGray">
            <a:xfrm>
              <a:off x="3152943" y="2305221"/>
              <a:ext cx="168149" cy="47082"/>
            </a:xfrm>
            <a:custGeom>
              <a:avLst/>
              <a:gdLst>
                <a:gd name="connsiteX0" fmla="*/ 18973 w 168148"/>
                <a:gd name="connsiteY0" fmla="*/ 40290 h 47081"/>
                <a:gd name="connsiteX1" fmla="*/ 7006 w 168148"/>
                <a:gd name="connsiteY1" fmla="*/ 40290 h 47081"/>
                <a:gd name="connsiteX2" fmla="*/ 40281 w 168148"/>
                <a:gd name="connsiteY2" fmla="*/ 7006 h 47081"/>
                <a:gd name="connsiteX3" fmla="*/ 161152 w 168148"/>
                <a:gd name="connsiteY3" fmla="*/ 7006 h 47081"/>
                <a:gd name="connsiteX4" fmla="*/ 152689 w 168148"/>
                <a:gd name="connsiteY4" fmla="*/ 15470 h 47081"/>
                <a:gd name="connsiteX5" fmla="*/ 43794 w 168148"/>
                <a:gd name="connsiteY5" fmla="*/ 15470 h 47081"/>
                <a:gd name="connsiteX6" fmla="*/ 18973 w 168148"/>
                <a:gd name="connsiteY6" fmla="*/ 40290 h 47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148" h="47081">
                  <a:moveTo>
                    <a:pt x="18973" y="40290"/>
                  </a:moveTo>
                  <a:lnTo>
                    <a:pt x="7006" y="40290"/>
                  </a:lnTo>
                  <a:lnTo>
                    <a:pt x="40281" y="7006"/>
                  </a:lnTo>
                  <a:lnTo>
                    <a:pt x="161152" y="7006"/>
                  </a:lnTo>
                  <a:lnTo>
                    <a:pt x="152689" y="15470"/>
                  </a:lnTo>
                  <a:lnTo>
                    <a:pt x="43794" y="15470"/>
                  </a:lnTo>
                  <a:lnTo>
                    <a:pt x="18973" y="4029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5" name="Freeform: Shape 13384">
              <a:extLst>
                <a:ext uri="{FF2B5EF4-FFF2-40B4-BE49-F238E27FC236}">
                  <a16:creationId xmlns:a16="http://schemas.microsoft.com/office/drawing/2014/main" id="{2A4A8CC7-8CBD-47CF-B2D9-29212E8C0ABB}"/>
                </a:ext>
              </a:extLst>
            </p:cNvPr>
            <p:cNvSpPr/>
            <p:nvPr/>
          </p:nvSpPr>
          <p:spPr bwMode="ltGray">
            <a:xfrm>
              <a:off x="3791079" y="2113839"/>
              <a:ext cx="459607" cy="127793"/>
            </a:xfrm>
            <a:custGeom>
              <a:avLst/>
              <a:gdLst>
                <a:gd name="connsiteX0" fmla="*/ 454806 w 459607"/>
                <a:gd name="connsiteY0" fmla="*/ 121768 h 127793"/>
                <a:gd name="connsiteX1" fmla="*/ 7006 w 459607"/>
                <a:gd name="connsiteY1" fmla="*/ 121768 h 127793"/>
                <a:gd name="connsiteX2" fmla="*/ 121777 w 459607"/>
                <a:gd name="connsiteY2" fmla="*/ 7006 h 127793"/>
                <a:gd name="connsiteX3" fmla="*/ 454806 w 459607"/>
                <a:gd name="connsiteY3" fmla="*/ 7006 h 127793"/>
                <a:gd name="connsiteX4" fmla="*/ 454806 w 459607"/>
                <a:gd name="connsiteY4" fmla="*/ 121768 h 127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607" h="127793">
                  <a:moveTo>
                    <a:pt x="454806" y="121768"/>
                  </a:moveTo>
                  <a:lnTo>
                    <a:pt x="7006" y="121768"/>
                  </a:lnTo>
                  <a:lnTo>
                    <a:pt x="121777" y="7006"/>
                  </a:lnTo>
                  <a:lnTo>
                    <a:pt x="454806" y="7006"/>
                  </a:lnTo>
                  <a:lnTo>
                    <a:pt x="454806" y="12176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6" name="Freeform: Shape 13385">
              <a:extLst>
                <a:ext uri="{FF2B5EF4-FFF2-40B4-BE49-F238E27FC236}">
                  <a16:creationId xmlns:a16="http://schemas.microsoft.com/office/drawing/2014/main" id="{B19B7CB1-BCFF-4B6A-915D-B52BAC4BA615}"/>
                </a:ext>
              </a:extLst>
            </p:cNvPr>
            <p:cNvSpPr/>
            <p:nvPr/>
          </p:nvSpPr>
          <p:spPr bwMode="ltGray">
            <a:xfrm>
              <a:off x="5673153" y="1612773"/>
              <a:ext cx="2008820" cy="627756"/>
            </a:xfrm>
            <a:custGeom>
              <a:avLst/>
              <a:gdLst>
                <a:gd name="connsiteX0" fmla="*/ 822605 w 2008819"/>
                <a:gd name="connsiteY0" fmla="*/ 622834 h 627756"/>
                <a:gd name="connsiteX1" fmla="*/ 7006 w 2008819"/>
                <a:gd name="connsiteY1" fmla="*/ 622834 h 627756"/>
                <a:gd name="connsiteX2" fmla="*/ 7006 w 2008819"/>
                <a:gd name="connsiteY2" fmla="*/ 508072 h 627756"/>
                <a:gd name="connsiteX3" fmla="*/ 775065 w 2008819"/>
                <a:gd name="connsiteY3" fmla="*/ 508072 h 627756"/>
                <a:gd name="connsiteX4" fmla="*/ 1276121 w 2008819"/>
                <a:gd name="connsiteY4" fmla="*/ 7006 h 627756"/>
                <a:gd name="connsiteX5" fmla="*/ 2003777 w 2008819"/>
                <a:gd name="connsiteY5" fmla="*/ 7006 h 627756"/>
                <a:gd name="connsiteX6" fmla="*/ 2003777 w 2008819"/>
                <a:gd name="connsiteY6" fmla="*/ 121768 h 627756"/>
                <a:gd name="connsiteX7" fmla="*/ 1323670 w 2008819"/>
                <a:gd name="connsiteY7" fmla="*/ 121768 h 627756"/>
                <a:gd name="connsiteX8" fmla="*/ 822605 w 2008819"/>
                <a:gd name="connsiteY8" fmla="*/ 622834 h 62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8819" h="627756">
                  <a:moveTo>
                    <a:pt x="822605" y="622834"/>
                  </a:moveTo>
                  <a:lnTo>
                    <a:pt x="7006" y="622834"/>
                  </a:lnTo>
                  <a:lnTo>
                    <a:pt x="7006" y="508072"/>
                  </a:lnTo>
                  <a:lnTo>
                    <a:pt x="775065" y="508072"/>
                  </a:lnTo>
                  <a:lnTo>
                    <a:pt x="1276121" y="7006"/>
                  </a:lnTo>
                  <a:lnTo>
                    <a:pt x="2003777" y="7006"/>
                  </a:lnTo>
                  <a:lnTo>
                    <a:pt x="2003777" y="121768"/>
                  </a:lnTo>
                  <a:lnTo>
                    <a:pt x="1323670" y="121768"/>
                  </a:lnTo>
                  <a:lnTo>
                    <a:pt x="822605" y="622834"/>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7" name="Freeform: Shape 13386">
              <a:extLst>
                <a:ext uri="{FF2B5EF4-FFF2-40B4-BE49-F238E27FC236}">
                  <a16:creationId xmlns:a16="http://schemas.microsoft.com/office/drawing/2014/main" id="{5C8E0ED5-4229-48CF-A2AD-CF00A1B8D2EC}"/>
                </a:ext>
              </a:extLst>
            </p:cNvPr>
            <p:cNvSpPr/>
            <p:nvPr/>
          </p:nvSpPr>
          <p:spPr bwMode="ltGray">
            <a:xfrm>
              <a:off x="8496180" y="1641471"/>
              <a:ext cx="838503" cy="69502"/>
            </a:xfrm>
            <a:custGeom>
              <a:avLst/>
              <a:gdLst>
                <a:gd name="connsiteX0" fmla="*/ 7006 w 838502"/>
                <a:gd name="connsiteY0" fmla="*/ 7006 h 69501"/>
                <a:gd name="connsiteX1" fmla="*/ 833263 w 838502"/>
                <a:gd name="connsiteY1" fmla="*/ 7006 h 69501"/>
                <a:gd name="connsiteX2" fmla="*/ 833263 w 838502"/>
                <a:gd name="connsiteY2" fmla="*/ 64382 h 69501"/>
                <a:gd name="connsiteX3" fmla="*/ 7006 w 838502"/>
                <a:gd name="connsiteY3" fmla="*/ 64382 h 69501"/>
              </a:gdLst>
              <a:ahLst/>
              <a:cxnLst>
                <a:cxn ang="0">
                  <a:pos x="connsiteX0" y="connsiteY0"/>
                </a:cxn>
                <a:cxn ang="0">
                  <a:pos x="connsiteX1" y="connsiteY1"/>
                </a:cxn>
                <a:cxn ang="0">
                  <a:pos x="connsiteX2" y="connsiteY2"/>
                </a:cxn>
                <a:cxn ang="0">
                  <a:pos x="connsiteX3" y="connsiteY3"/>
                </a:cxn>
              </a:cxnLst>
              <a:rect l="l" t="t" r="r" b="b"/>
              <a:pathLst>
                <a:path w="838502" h="69501">
                  <a:moveTo>
                    <a:pt x="7006" y="7006"/>
                  </a:moveTo>
                  <a:lnTo>
                    <a:pt x="833263" y="7006"/>
                  </a:lnTo>
                  <a:lnTo>
                    <a:pt x="833263" y="64382"/>
                  </a:lnTo>
                  <a:lnTo>
                    <a:pt x="7006" y="64382"/>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8" name="Freeform: Shape 13387">
              <a:extLst>
                <a:ext uri="{FF2B5EF4-FFF2-40B4-BE49-F238E27FC236}">
                  <a16:creationId xmlns:a16="http://schemas.microsoft.com/office/drawing/2014/main" id="{1F458A76-3D5E-4E82-9DE6-A72E798188F3}"/>
                </a:ext>
              </a:extLst>
            </p:cNvPr>
            <p:cNvSpPr/>
            <p:nvPr/>
          </p:nvSpPr>
          <p:spPr bwMode="ltGray">
            <a:xfrm>
              <a:off x="4308688" y="3988832"/>
              <a:ext cx="1618714" cy="69502"/>
            </a:xfrm>
            <a:custGeom>
              <a:avLst/>
              <a:gdLst>
                <a:gd name="connsiteX0" fmla="*/ 1612466 w 1618714"/>
                <a:gd name="connsiteY0" fmla="*/ 64392 h 69501"/>
                <a:gd name="connsiteX1" fmla="*/ 1095296 w 1618714"/>
                <a:gd name="connsiteY1" fmla="*/ 64392 h 69501"/>
                <a:gd name="connsiteX2" fmla="*/ 1062161 w 1618714"/>
                <a:gd name="connsiteY2" fmla="*/ 7006 h 69501"/>
                <a:gd name="connsiteX3" fmla="*/ 1612466 w 1618714"/>
                <a:gd name="connsiteY3" fmla="*/ 7006 h 69501"/>
                <a:gd name="connsiteX4" fmla="*/ 1612466 w 1618714"/>
                <a:gd name="connsiteY4" fmla="*/ 64392 h 69501"/>
                <a:gd name="connsiteX5" fmla="*/ 1049802 w 1618714"/>
                <a:gd name="connsiteY5" fmla="*/ 64392 h 69501"/>
                <a:gd name="connsiteX6" fmla="*/ 610802 w 1618714"/>
                <a:gd name="connsiteY6" fmla="*/ 64392 h 69501"/>
                <a:gd name="connsiteX7" fmla="*/ 647495 w 1618714"/>
                <a:gd name="connsiteY7" fmla="*/ 7324 h 69501"/>
                <a:gd name="connsiteX8" fmla="*/ 647495 w 1618714"/>
                <a:gd name="connsiteY8" fmla="*/ 7006 h 69501"/>
                <a:gd name="connsiteX9" fmla="*/ 1016676 w 1618714"/>
                <a:gd name="connsiteY9" fmla="*/ 7006 h 69501"/>
                <a:gd name="connsiteX10" fmla="*/ 1049802 w 1618714"/>
                <a:gd name="connsiteY10" fmla="*/ 64392 h 69501"/>
                <a:gd name="connsiteX11" fmla="*/ 558694 w 1618714"/>
                <a:gd name="connsiteY11" fmla="*/ 64392 h 69501"/>
                <a:gd name="connsiteX12" fmla="*/ 233242 w 1618714"/>
                <a:gd name="connsiteY12" fmla="*/ 64392 h 69501"/>
                <a:gd name="connsiteX13" fmla="*/ 290618 w 1618714"/>
                <a:gd name="connsiteY13" fmla="*/ 7006 h 69501"/>
                <a:gd name="connsiteX14" fmla="*/ 522010 w 1618714"/>
                <a:gd name="connsiteY14" fmla="*/ 7006 h 69501"/>
                <a:gd name="connsiteX15" fmla="*/ 522010 w 1618714"/>
                <a:gd name="connsiteY15" fmla="*/ 7324 h 69501"/>
                <a:gd name="connsiteX16" fmla="*/ 558694 w 1618714"/>
                <a:gd name="connsiteY16" fmla="*/ 64392 h 69501"/>
                <a:gd name="connsiteX17" fmla="*/ 217323 w 1618714"/>
                <a:gd name="connsiteY17" fmla="*/ 64392 h 69501"/>
                <a:gd name="connsiteX18" fmla="*/ 64392 w 1618714"/>
                <a:gd name="connsiteY18" fmla="*/ 64392 h 69501"/>
                <a:gd name="connsiteX19" fmla="*/ 7006 w 1618714"/>
                <a:gd name="connsiteY19" fmla="*/ 7006 h 69501"/>
                <a:gd name="connsiteX20" fmla="*/ 274700 w 1618714"/>
                <a:gd name="connsiteY20" fmla="*/ 7006 h 69501"/>
                <a:gd name="connsiteX21" fmla="*/ 217323 w 1618714"/>
                <a:gd name="connsiteY21" fmla="*/ 64392 h 69501"/>
                <a:gd name="connsiteX22" fmla="*/ 584748 w 1618714"/>
                <a:gd name="connsiteY22" fmla="*/ 36283 h 69501"/>
                <a:gd name="connsiteX23" fmla="*/ 555779 w 1618714"/>
                <a:gd name="connsiteY23" fmla="*/ 7324 h 69501"/>
                <a:gd name="connsiteX24" fmla="*/ 555789 w 1618714"/>
                <a:gd name="connsiteY24" fmla="*/ 7006 h 69501"/>
                <a:gd name="connsiteX25" fmla="*/ 565738 w 1618714"/>
                <a:gd name="connsiteY25" fmla="*/ 7006 h 69501"/>
                <a:gd name="connsiteX26" fmla="*/ 565738 w 1618714"/>
                <a:gd name="connsiteY26" fmla="*/ 7324 h 69501"/>
                <a:gd name="connsiteX27" fmla="*/ 584748 w 1618714"/>
                <a:gd name="connsiteY27" fmla="*/ 26334 h 69501"/>
                <a:gd name="connsiteX28" fmla="*/ 603768 w 1618714"/>
                <a:gd name="connsiteY28" fmla="*/ 7324 h 69501"/>
                <a:gd name="connsiteX29" fmla="*/ 603768 w 1618714"/>
                <a:gd name="connsiteY29" fmla="*/ 7006 h 69501"/>
                <a:gd name="connsiteX30" fmla="*/ 613726 w 1618714"/>
                <a:gd name="connsiteY30" fmla="*/ 7006 h 69501"/>
                <a:gd name="connsiteX31" fmla="*/ 613726 w 1618714"/>
                <a:gd name="connsiteY31" fmla="*/ 7324 h 69501"/>
                <a:gd name="connsiteX32" fmla="*/ 584748 w 1618714"/>
                <a:gd name="connsiteY32" fmla="*/ 36283 h 69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18714" h="69501">
                  <a:moveTo>
                    <a:pt x="1612466" y="64392"/>
                  </a:moveTo>
                  <a:lnTo>
                    <a:pt x="1095296" y="64392"/>
                  </a:lnTo>
                  <a:lnTo>
                    <a:pt x="1062161" y="7006"/>
                  </a:lnTo>
                  <a:lnTo>
                    <a:pt x="1612466" y="7006"/>
                  </a:lnTo>
                  <a:lnTo>
                    <a:pt x="1612466" y="64392"/>
                  </a:lnTo>
                  <a:close/>
                  <a:moveTo>
                    <a:pt x="1049802" y="64392"/>
                  </a:moveTo>
                  <a:lnTo>
                    <a:pt x="610802" y="64392"/>
                  </a:lnTo>
                  <a:cubicBezTo>
                    <a:pt x="632437" y="54480"/>
                    <a:pt x="647495" y="32621"/>
                    <a:pt x="647495" y="7324"/>
                  </a:cubicBezTo>
                  <a:lnTo>
                    <a:pt x="647495" y="7006"/>
                  </a:lnTo>
                  <a:lnTo>
                    <a:pt x="1016676" y="7006"/>
                  </a:lnTo>
                  <a:lnTo>
                    <a:pt x="1049802" y="64392"/>
                  </a:lnTo>
                  <a:close/>
                  <a:moveTo>
                    <a:pt x="558694" y="64392"/>
                  </a:moveTo>
                  <a:lnTo>
                    <a:pt x="233242" y="64392"/>
                  </a:lnTo>
                  <a:lnTo>
                    <a:pt x="290618" y="7006"/>
                  </a:lnTo>
                  <a:lnTo>
                    <a:pt x="522010" y="7006"/>
                  </a:lnTo>
                  <a:lnTo>
                    <a:pt x="522010" y="7324"/>
                  </a:lnTo>
                  <a:cubicBezTo>
                    <a:pt x="522010" y="32621"/>
                    <a:pt x="537068" y="54480"/>
                    <a:pt x="558694" y="64392"/>
                  </a:cubicBezTo>
                  <a:close/>
                  <a:moveTo>
                    <a:pt x="217323" y="64392"/>
                  </a:moveTo>
                  <a:lnTo>
                    <a:pt x="64392" y="64392"/>
                  </a:lnTo>
                  <a:lnTo>
                    <a:pt x="7006" y="7006"/>
                  </a:lnTo>
                  <a:lnTo>
                    <a:pt x="274700" y="7006"/>
                  </a:lnTo>
                  <a:lnTo>
                    <a:pt x="217323" y="64392"/>
                  </a:lnTo>
                  <a:close/>
                  <a:moveTo>
                    <a:pt x="584748" y="36283"/>
                  </a:moveTo>
                  <a:cubicBezTo>
                    <a:pt x="568783" y="36283"/>
                    <a:pt x="555779" y="23298"/>
                    <a:pt x="555779" y="7324"/>
                  </a:cubicBezTo>
                  <a:cubicBezTo>
                    <a:pt x="555779" y="7221"/>
                    <a:pt x="555779" y="7109"/>
                    <a:pt x="555789" y="7006"/>
                  </a:cubicBezTo>
                  <a:lnTo>
                    <a:pt x="565738" y="7006"/>
                  </a:lnTo>
                  <a:lnTo>
                    <a:pt x="565738" y="7324"/>
                  </a:lnTo>
                  <a:cubicBezTo>
                    <a:pt x="565738" y="17824"/>
                    <a:pt x="574239" y="26334"/>
                    <a:pt x="584748" y="26334"/>
                  </a:cubicBezTo>
                  <a:cubicBezTo>
                    <a:pt x="595257" y="26334"/>
                    <a:pt x="603768" y="17824"/>
                    <a:pt x="603768" y="7324"/>
                  </a:cubicBezTo>
                  <a:lnTo>
                    <a:pt x="603768" y="7006"/>
                  </a:lnTo>
                  <a:lnTo>
                    <a:pt x="613726" y="7006"/>
                  </a:lnTo>
                  <a:lnTo>
                    <a:pt x="613726" y="7324"/>
                  </a:lnTo>
                  <a:cubicBezTo>
                    <a:pt x="613726" y="23298"/>
                    <a:pt x="600731" y="36283"/>
                    <a:pt x="584748" y="36283"/>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89" name="Freeform: Shape 13388">
              <a:extLst>
                <a:ext uri="{FF2B5EF4-FFF2-40B4-BE49-F238E27FC236}">
                  <a16:creationId xmlns:a16="http://schemas.microsoft.com/office/drawing/2014/main" id="{1A9486F3-3701-426A-979A-045121CA9053}"/>
                </a:ext>
              </a:extLst>
            </p:cNvPr>
            <p:cNvSpPr/>
            <p:nvPr/>
          </p:nvSpPr>
          <p:spPr bwMode="ltGray">
            <a:xfrm>
              <a:off x="5318358" y="3988832"/>
              <a:ext cx="91921" cy="69502"/>
            </a:xfrm>
            <a:custGeom>
              <a:avLst/>
              <a:gdLst>
                <a:gd name="connsiteX0" fmla="*/ 85625 w 91921"/>
                <a:gd name="connsiteY0" fmla="*/ 64392 h 69501"/>
                <a:gd name="connsiteX1" fmla="*/ 40132 w 91921"/>
                <a:gd name="connsiteY1" fmla="*/ 64392 h 69501"/>
                <a:gd name="connsiteX2" fmla="*/ 7006 w 91921"/>
                <a:gd name="connsiteY2" fmla="*/ 7006 h 69501"/>
                <a:gd name="connsiteX3" fmla="*/ 52491 w 91921"/>
                <a:gd name="connsiteY3" fmla="*/ 7006 h 69501"/>
                <a:gd name="connsiteX4" fmla="*/ 85625 w 91921"/>
                <a:gd name="connsiteY4" fmla="*/ 64392 h 69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21" h="69501">
                  <a:moveTo>
                    <a:pt x="85625" y="64392"/>
                  </a:moveTo>
                  <a:lnTo>
                    <a:pt x="40132" y="64392"/>
                  </a:lnTo>
                  <a:lnTo>
                    <a:pt x="7006" y="7006"/>
                  </a:lnTo>
                  <a:lnTo>
                    <a:pt x="52491" y="7006"/>
                  </a:lnTo>
                  <a:lnTo>
                    <a:pt x="85625" y="6439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0" name="Freeform: Shape 13389">
              <a:extLst>
                <a:ext uri="{FF2B5EF4-FFF2-40B4-BE49-F238E27FC236}">
                  <a16:creationId xmlns:a16="http://schemas.microsoft.com/office/drawing/2014/main" id="{7A1DEFC6-6182-487B-AC24-2B3B4938DA77}"/>
                </a:ext>
              </a:extLst>
            </p:cNvPr>
            <p:cNvSpPr/>
            <p:nvPr/>
          </p:nvSpPr>
          <p:spPr bwMode="ltGray">
            <a:xfrm>
              <a:off x="4823692" y="3988832"/>
              <a:ext cx="139003" cy="69502"/>
            </a:xfrm>
            <a:custGeom>
              <a:avLst/>
              <a:gdLst>
                <a:gd name="connsiteX0" fmla="*/ 95798 w 139003"/>
                <a:gd name="connsiteY0" fmla="*/ 64392 h 69501"/>
                <a:gd name="connsiteX1" fmla="*/ 43691 w 139003"/>
                <a:gd name="connsiteY1" fmla="*/ 64392 h 69501"/>
                <a:gd name="connsiteX2" fmla="*/ 7006 w 139003"/>
                <a:gd name="connsiteY2" fmla="*/ 7324 h 69501"/>
                <a:gd name="connsiteX3" fmla="*/ 7006 w 139003"/>
                <a:gd name="connsiteY3" fmla="*/ 7006 h 69501"/>
                <a:gd name="connsiteX4" fmla="*/ 40786 w 139003"/>
                <a:gd name="connsiteY4" fmla="*/ 7006 h 69501"/>
                <a:gd name="connsiteX5" fmla="*/ 40776 w 139003"/>
                <a:gd name="connsiteY5" fmla="*/ 7324 h 69501"/>
                <a:gd name="connsiteX6" fmla="*/ 69745 w 139003"/>
                <a:gd name="connsiteY6" fmla="*/ 36283 h 69501"/>
                <a:gd name="connsiteX7" fmla="*/ 98722 w 139003"/>
                <a:gd name="connsiteY7" fmla="*/ 7324 h 69501"/>
                <a:gd name="connsiteX8" fmla="*/ 98722 w 139003"/>
                <a:gd name="connsiteY8" fmla="*/ 7006 h 69501"/>
                <a:gd name="connsiteX9" fmla="*/ 132492 w 139003"/>
                <a:gd name="connsiteY9" fmla="*/ 7006 h 69501"/>
                <a:gd name="connsiteX10" fmla="*/ 132492 w 139003"/>
                <a:gd name="connsiteY10" fmla="*/ 7324 h 69501"/>
                <a:gd name="connsiteX11" fmla="*/ 95798 w 139003"/>
                <a:gd name="connsiteY11" fmla="*/ 64392 h 69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9003" h="69501">
                  <a:moveTo>
                    <a:pt x="95798" y="64392"/>
                  </a:moveTo>
                  <a:lnTo>
                    <a:pt x="43691" y="64392"/>
                  </a:lnTo>
                  <a:cubicBezTo>
                    <a:pt x="22065" y="54480"/>
                    <a:pt x="7006" y="32621"/>
                    <a:pt x="7006" y="7324"/>
                  </a:cubicBezTo>
                  <a:lnTo>
                    <a:pt x="7006" y="7006"/>
                  </a:lnTo>
                  <a:lnTo>
                    <a:pt x="40786" y="7006"/>
                  </a:lnTo>
                  <a:cubicBezTo>
                    <a:pt x="40776" y="7109"/>
                    <a:pt x="40776" y="7221"/>
                    <a:pt x="40776" y="7324"/>
                  </a:cubicBezTo>
                  <a:cubicBezTo>
                    <a:pt x="40776" y="23298"/>
                    <a:pt x="53780" y="36283"/>
                    <a:pt x="69745" y="36283"/>
                  </a:cubicBezTo>
                  <a:cubicBezTo>
                    <a:pt x="85728" y="36283"/>
                    <a:pt x="98722" y="23298"/>
                    <a:pt x="98722" y="7324"/>
                  </a:cubicBezTo>
                  <a:lnTo>
                    <a:pt x="98722" y="7006"/>
                  </a:lnTo>
                  <a:lnTo>
                    <a:pt x="132492" y="7006"/>
                  </a:lnTo>
                  <a:lnTo>
                    <a:pt x="132492" y="7324"/>
                  </a:lnTo>
                  <a:cubicBezTo>
                    <a:pt x="132492" y="32621"/>
                    <a:pt x="117433" y="54480"/>
                    <a:pt x="95798" y="64392"/>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1" name="Freeform: Shape 13390">
              <a:extLst>
                <a:ext uri="{FF2B5EF4-FFF2-40B4-BE49-F238E27FC236}">
                  <a16:creationId xmlns:a16="http://schemas.microsoft.com/office/drawing/2014/main" id="{B27A7712-ECAC-42A5-AF86-7A7A28A3AA0D}"/>
                </a:ext>
              </a:extLst>
            </p:cNvPr>
            <p:cNvSpPr/>
            <p:nvPr/>
          </p:nvSpPr>
          <p:spPr bwMode="ltGray">
            <a:xfrm>
              <a:off x="4867420" y="3988832"/>
              <a:ext cx="51566" cy="31388"/>
            </a:xfrm>
            <a:custGeom>
              <a:avLst/>
              <a:gdLst>
                <a:gd name="connsiteX0" fmla="*/ 26016 w 51565"/>
                <a:gd name="connsiteY0" fmla="*/ 26334 h 31387"/>
                <a:gd name="connsiteX1" fmla="*/ 7006 w 51565"/>
                <a:gd name="connsiteY1" fmla="*/ 7324 h 31387"/>
                <a:gd name="connsiteX2" fmla="*/ 7006 w 51565"/>
                <a:gd name="connsiteY2" fmla="*/ 7006 h 31387"/>
                <a:gd name="connsiteX3" fmla="*/ 45036 w 51565"/>
                <a:gd name="connsiteY3" fmla="*/ 7006 h 31387"/>
                <a:gd name="connsiteX4" fmla="*/ 45036 w 51565"/>
                <a:gd name="connsiteY4" fmla="*/ 7324 h 31387"/>
                <a:gd name="connsiteX5" fmla="*/ 26016 w 51565"/>
                <a:gd name="connsiteY5" fmla="*/ 26334 h 3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565" h="31387">
                  <a:moveTo>
                    <a:pt x="26016" y="26334"/>
                  </a:moveTo>
                  <a:cubicBezTo>
                    <a:pt x="15507" y="26334"/>
                    <a:pt x="7006" y="17824"/>
                    <a:pt x="7006" y="7324"/>
                  </a:cubicBezTo>
                  <a:lnTo>
                    <a:pt x="7006" y="7006"/>
                  </a:lnTo>
                  <a:lnTo>
                    <a:pt x="45036" y="7006"/>
                  </a:lnTo>
                  <a:lnTo>
                    <a:pt x="45036" y="7324"/>
                  </a:lnTo>
                  <a:cubicBezTo>
                    <a:pt x="45036" y="17824"/>
                    <a:pt x="36525" y="26334"/>
                    <a:pt x="26016" y="26334"/>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2" name="Freeform: Shape 13391">
              <a:extLst>
                <a:ext uri="{FF2B5EF4-FFF2-40B4-BE49-F238E27FC236}">
                  <a16:creationId xmlns:a16="http://schemas.microsoft.com/office/drawing/2014/main" id="{461ADA6F-177B-4E82-87BD-5B150AD5430C}"/>
                </a:ext>
              </a:extLst>
            </p:cNvPr>
            <p:cNvSpPr/>
            <p:nvPr/>
          </p:nvSpPr>
          <p:spPr bwMode="ltGray">
            <a:xfrm>
              <a:off x="4519006" y="3988832"/>
              <a:ext cx="85195" cy="69502"/>
            </a:xfrm>
            <a:custGeom>
              <a:avLst/>
              <a:gdLst>
                <a:gd name="connsiteX0" fmla="*/ 22924 w 85195"/>
                <a:gd name="connsiteY0" fmla="*/ 64392 h 69501"/>
                <a:gd name="connsiteX1" fmla="*/ 7006 w 85195"/>
                <a:gd name="connsiteY1" fmla="*/ 64392 h 69501"/>
                <a:gd name="connsiteX2" fmla="*/ 64382 w 85195"/>
                <a:gd name="connsiteY2" fmla="*/ 7006 h 69501"/>
                <a:gd name="connsiteX3" fmla="*/ 80301 w 85195"/>
                <a:gd name="connsiteY3" fmla="*/ 7006 h 69501"/>
                <a:gd name="connsiteX4" fmla="*/ 22924 w 85195"/>
                <a:gd name="connsiteY4" fmla="*/ 64392 h 69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195" h="69501">
                  <a:moveTo>
                    <a:pt x="22924" y="64392"/>
                  </a:moveTo>
                  <a:lnTo>
                    <a:pt x="7006" y="64392"/>
                  </a:lnTo>
                  <a:lnTo>
                    <a:pt x="64382" y="7006"/>
                  </a:lnTo>
                  <a:lnTo>
                    <a:pt x="80301" y="7006"/>
                  </a:lnTo>
                  <a:lnTo>
                    <a:pt x="22924" y="6439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3" name="Freeform: Shape 13392">
              <a:extLst>
                <a:ext uri="{FF2B5EF4-FFF2-40B4-BE49-F238E27FC236}">
                  <a16:creationId xmlns:a16="http://schemas.microsoft.com/office/drawing/2014/main" id="{BC3BFE1F-3A0E-4016-9B7D-AAD20DFC7D11}"/>
                </a:ext>
              </a:extLst>
            </p:cNvPr>
            <p:cNvSpPr/>
            <p:nvPr/>
          </p:nvSpPr>
          <p:spPr bwMode="ltGray">
            <a:xfrm>
              <a:off x="3619408" y="3769501"/>
              <a:ext cx="726404" cy="289216"/>
            </a:xfrm>
            <a:custGeom>
              <a:avLst/>
              <a:gdLst>
                <a:gd name="connsiteX0" fmla="*/ 721210 w 726403"/>
                <a:gd name="connsiteY0" fmla="*/ 283724 h 289216"/>
                <a:gd name="connsiteX1" fmla="*/ 243143 w 726403"/>
                <a:gd name="connsiteY1" fmla="*/ 283724 h 289216"/>
                <a:gd name="connsiteX2" fmla="*/ 102954 w 726403"/>
                <a:gd name="connsiteY2" fmla="*/ 143525 h 289216"/>
                <a:gd name="connsiteX3" fmla="*/ 120030 w 726403"/>
                <a:gd name="connsiteY3" fmla="*/ 143525 h 289216"/>
                <a:gd name="connsiteX4" fmla="*/ 120030 w 726403"/>
                <a:gd name="connsiteY4" fmla="*/ 137910 h 289216"/>
                <a:gd name="connsiteX5" fmla="*/ 97330 w 726403"/>
                <a:gd name="connsiteY5" fmla="*/ 137910 h 289216"/>
                <a:gd name="connsiteX6" fmla="*/ 7006 w 726403"/>
                <a:gd name="connsiteY6" fmla="*/ 47577 h 289216"/>
                <a:gd name="connsiteX7" fmla="*/ 10014 w 726403"/>
                <a:gd name="connsiteY7" fmla="*/ 44569 h 289216"/>
                <a:gd name="connsiteX8" fmla="*/ 85149 w 726403"/>
                <a:gd name="connsiteY8" fmla="*/ 44569 h 289216"/>
                <a:gd name="connsiteX9" fmla="*/ 266918 w 726403"/>
                <a:gd name="connsiteY9" fmla="*/ 226338 h 289216"/>
                <a:gd name="connsiteX10" fmla="*/ 663834 w 726403"/>
                <a:gd name="connsiteY10" fmla="*/ 226338 h 289216"/>
                <a:gd name="connsiteX11" fmla="*/ 721210 w 726403"/>
                <a:gd name="connsiteY11" fmla="*/ 283724 h 289216"/>
                <a:gd name="connsiteX12" fmla="*/ 79516 w 726403"/>
                <a:gd name="connsiteY12" fmla="*/ 38945 h 289216"/>
                <a:gd name="connsiteX13" fmla="*/ 15647 w 726403"/>
                <a:gd name="connsiteY13" fmla="*/ 38945 h 289216"/>
                <a:gd name="connsiteX14" fmla="*/ 47586 w 726403"/>
                <a:gd name="connsiteY14" fmla="*/ 7006 h 289216"/>
                <a:gd name="connsiteX15" fmla="*/ 79516 w 726403"/>
                <a:gd name="connsiteY15" fmla="*/ 38945 h 289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26403" h="289216">
                  <a:moveTo>
                    <a:pt x="721210" y="283724"/>
                  </a:moveTo>
                  <a:lnTo>
                    <a:pt x="243143" y="283724"/>
                  </a:lnTo>
                  <a:lnTo>
                    <a:pt x="102954" y="143525"/>
                  </a:lnTo>
                  <a:lnTo>
                    <a:pt x="120030" y="143525"/>
                  </a:lnTo>
                  <a:lnTo>
                    <a:pt x="120030" y="137910"/>
                  </a:lnTo>
                  <a:lnTo>
                    <a:pt x="97330" y="137910"/>
                  </a:lnTo>
                  <a:lnTo>
                    <a:pt x="7006" y="47577"/>
                  </a:lnTo>
                  <a:lnTo>
                    <a:pt x="10014" y="44569"/>
                  </a:lnTo>
                  <a:lnTo>
                    <a:pt x="85149" y="44569"/>
                  </a:lnTo>
                  <a:lnTo>
                    <a:pt x="266918" y="226338"/>
                  </a:lnTo>
                  <a:lnTo>
                    <a:pt x="663834" y="226338"/>
                  </a:lnTo>
                  <a:lnTo>
                    <a:pt x="721210" y="283724"/>
                  </a:lnTo>
                  <a:close/>
                  <a:moveTo>
                    <a:pt x="79516" y="38945"/>
                  </a:moveTo>
                  <a:lnTo>
                    <a:pt x="15647" y="38945"/>
                  </a:lnTo>
                  <a:lnTo>
                    <a:pt x="47586" y="7006"/>
                  </a:lnTo>
                  <a:lnTo>
                    <a:pt x="79516" y="38945"/>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4" name="Freeform: Shape 13393">
              <a:extLst>
                <a:ext uri="{FF2B5EF4-FFF2-40B4-BE49-F238E27FC236}">
                  <a16:creationId xmlns:a16="http://schemas.microsoft.com/office/drawing/2014/main" id="{E2C31AB4-07B5-403F-846E-0AD5D0368AB5}"/>
                </a:ext>
              </a:extLst>
            </p:cNvPr>
            <p:cNvSpPr/>
            <p:nvPr/>
          </p:nvSpPr>
          <p:spPr bwMode="ltGray">
            <a:xfrm>
              <a:off x="3622416" y="3801440"/>
              <a:ext cx="87437" cy="17936"/>
            </a:xfrm>
            <a:custGeom>
              <a:avLst/>
              <a:gdLst>
                <a:gd name="connsiteX0" fmla="*/ 82141 w 87437"/>
                <a:gd name="connsiteY0" fmla="*/ 12630 h 17935"/>
                <a:gd name="connsiteX1" fmla="*/ 7006 w 87437"/>
                <a:gd name="connsiteY1" fmla="*/ 12630 h 17935"/>
                <a:gd name="connsiteX2" fmla="*/ 12639 w 87437"/>
                <a:gd name="connsiteY2" fmla="*/ 7006 h 17935"/>
                <a:gd name="connsiteX3" fmla="*/ 76508 w 87437"/>
                <a:gd name="connsiteY3" fmla="*/ 7006 h 17935"/>
                <a:gd name="connsiteX4" fmla="*/ 82141 w 87437"/>
                <a:gd name="connsiteY4" fmla="*/ 12630 h 17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437" h="17935">
                  <a:moveTo>
                    <a:pt x="82141" y="12630"/>
                  </a:moveTo>
                  <a:lnTo>
                    <a:pt x="7006" y="12630"/>
                  </a:lnTo>
                  <a:lnTo>
                    <a:pt x="12639" y="7006"/>
                  </a:lnTo>
                  <a:lnTo>
                    <a:pt x="76508" y="7006"/>
                  </a:lnTo>
                  <a:lnTo>
                    <a:pt x="82141" y="126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5" name="Freeform: Shape 13394">
              <a:extLst>
                <a:ext uri="{FF2B5EF4-FFF2-40B4-BE49-F238E27FC236}">
                  <a16:creationId xmlns:a16="http://schemas.microsoft.com/office/drawing/2014/main" id="{D6D62B0A-8EBB-4060-924C-B30DF499232C}"/>
                </a:ext>
              </a:extLst>
            </p:cNvPr>
            <p:cNvSpPr/>
            <p:nvPr/>
          </p:nvSpPr>
          <p:spPr bwMode="ltGray">
            <a:xfrm>
              <a:off x="3709732" y="3900405"/>
              <a:ext cx="35872" cy="17936"/>
            </a:xfrm>
            <a:custGeom>
              <a:avLst/>
              <a:gdLst>
                <a:gd name="connsiteX0" fmla="*/ 29707 w 35871"/>
                <a:gd name="connsiteY0" fmla="*/ 12621 h 17935"/>
                <a:gd name="connsiteX1" fmla="*/ 12630 w 35871"/>
                <a:gd name="connsiteY1" fmla="*/ 12621 h 17935"/>
                <a:gd name="connsiteX2" fmla="*/ 7006 w 35871"/>
                <a:gd name="connsiteY2" fmla="*/ 7006 h 17935"/>
                <a:gd name="connsiteX3" fmla="*/ 29707 w 35871"/>
                <a:gd name="connsiteY3" fmla="*/ 7006 h 17935"/>
                <a:gd name="connsiteX4" fmla="*/ 29707 w 35871"/>
                <a:gd name="connsiteY4" fmla="*/ 12621 h 17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71" h="17935">
                  <a:moveTo>
                    <a:pt x="29707" y="12621"/>
                  </a:moveTo>
                  <a:lnTo>
                    <a:pt x="12630" y="12621"/>
                  </a:lnTo>
                  <a:lnTo>
                    <a:pt x="7006" y="7006"/>
                  </a:lnTo>
                  <a:lnTo>
                    <a:pt x="29707" y="7006"/>
                  </a:lnTo>
                  <a:lnTo>
                    <a:pt x="29707" y="1262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6" name="Freeform: Shape 13395">
              <a:extLst>
                <a:ext uri="{FF2B5EF4-FFF2-40B4-BE49-F238E27FC236}">
                  <a16:creationId xmlns:a16="http://schemas.microsoft.com/office/drawing/2014/main" id="{DB7478A8-1A93-449C-B8FB-35443C002605}"/>
                </a:ext>
              </a:extLst>
            </p:cNvPr>
            <p:cNvSpPr/>
            <p:nvPr/>
          </p:nvSpPr>
          <p:spPr bwMode="ltGray">
            <a:xfrm>
              <a:off x="2735261" y="3313985"/>
              <a:ext cx="912488" cy="484269"/>
            </a:xfrm>
            <a:custGeom>
              <a:avLst/>
              <a:gdLst>
                <a:gd name="connsiteX0" fmla="*/ 866809 w 912488"/>
                <a:gd name="connsiteY0" fmla="*/ 478748 h 484269"/>
                <a:gd name="connsiteX1" fmla="*/ 729001 w 912488"/>
                <a:gd name="connsiteY1" fmla="*/ 340941 h 484269"/>
                <a:gd name="connsiteX2" fmla="*/ 769572 w 912488"/>
                <a:gd name="connsiteY2" fmla="*/ 300361 h 484269"/>
                <a:gd name="connsiteX3" fmla="*/ 907380 w 912488"/>
                <a:gd name="connsiteY3" fmla="*/ 438178 h 484269"/>
                <a:gd name="connsiteX4" fmla="*/ 866809 w 912488"/>
                <a:gd name="connsiteY4" fmla="*/ 478748 h 484269"/>
                <a:gd name="connsiteX5" fmla="*/ 720883 w 912488"/>
                <a:gd name="connsiteY5" fmla="*/ 332823 h 484269"/>
                <a:gd name="connsiteX6" fmla="*/ 679472 w 912488"/>
                <a:gd name="connsiteY6" fmla="*/ 291412 h 484269"/>
                <a:gd name="connsiteX7" fmla="*/ 291412 w 912488"/>
                <a:gd name="connsiteY7" fmla="*/ 291412 h 484269"/>
                <a:gd name="connsiteX8" fmla="*/ 199771 w 912488"/>
                <a:gd name="connsiteY8" fmla="*/ 199761 h 484269"/>
                <a:gd name="connsiteX9" fmla="*/ 240341 w 912488"/>
                <a:gd name="connsiteY9" fmla="*/ 159190 h 484269"/>
                <a:gd name="connsiteX10" fmla="*/ 315186 w 912488"/>
                <a:gd name="connsiteY10" fmla="*/ 234035 h 484269"/>
                <a:gd name="connsiteX11" fmla="*/ 703246 w 912488"/>
                <a:gd name="connsiteY11" fmla="*/ 234035 h 484269"/>
                <a:gd name="connsiteX12" fmla="*/ 761463 w 912488"/>
                <a:gd name="connsiteY12" fmla="*/ 292253 h 484269"/>
                <a:gd name="connsiteX13" fmla="*/ 720883 w 912488"/>
                <a:gd name="connsiteY13" fmla="*/ 332823 h 484269"/>
                <a:gd name="connsiteX14" fmla="*/ 191812 w 912488"/>
                <a:gd name="connsiteY14" fmla="*/ 191811 h 484269"/>
                <a:gd name="connsiteX15" fmla="*/ 147121 w 912488"/>
                <a:gd name="connsiteY15" fmla="*/ 147112 h 484269"/>
                <a:gd name="connsiteX16" fmla="*/ 189411 w 912488"/>
                <a:gd name="connsiteY16" fmla="*/ 147112 h 484269"/>
                <a:gd name="connsiteX17" fmla="*/ 189411 w 912488"/>
                <a:gd name="connsiteY17" fmla="*/ 108260 h 484269"/>
                <a:gd name="connsiteX18" fmla="*/ 232382 w 912488"/>
                <a:gd name="connsiteY18" fmla="*/ 151231 h 484269"/>
                <a:gd name="connsiteX19" fmla="*/ 191812 w 912488"/>
                <a:gd name="connsiteY19" fmla="*/ 191811 h 484269"/>
                <a:gd name="connsiteX20" fmla="*/ 183236 w 912488"/>
                <a:gd name="connsiteY20" fmla="*/ 102085 h 484269"/>
                <a:gd name="connsiteX21" fmla="*/ 102085 w 912488"/>
                <a:gd name="connsiteY21" fmla="*/ 102085 h 484269"/>
                <a:gd name="connsiteX22" fmla="*/ 7006 w 912488"/>
                <a:gd name="connsiteY22" fmla="*/ 7006 h 484269"/>
                <a:gd name="connsiteX23" fmla="*/ 88157 w 912488"/>
                <a:gd name="connsiteY23" fmla="*/ 7006 h 484269"/>
                <a:gd name="connsiteX24" fmla="*/ 183236 w 912488"/>
                <a:gd name="connsiteY24" fmla="*/ 102085 h 484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12488" h="484269">
                  <a:moveTo>
                    <a:pt x="866809" y="478748"/>
                  </a:moveTo>
                  <a:lnTo>
                    <a:pt x="729001" y="340941"/>
                  </a:lnTo>
                  <a:lnTo>
                    <a:pt x="769572" y="300361"/>
                  </a:lnTo>
                  <a:lnTo>
                    <a:pt x="907380" y="438178"/>
                  </a:lnTo>
                  <a:lnTo>
                    <a:pt x="866809" y="478748"/>
                  </a:lnTo>
                  <a:close/>
                  <a:moveTo>
                    <a:pt x="720883" y="332823"/>
                  </a:moveTo>
                  <a:lnTo>
                    <a:pt x="679472" y="291412"/>
                  </a:lnTo>
                  <a:lnTo>
                    <a:pt x="291412" y="291412"/>
                  </a:lnTo>
                  <a:lnTo>
                    <a:pt x="199771" y="199761"/>
                  </a:lnTo>
                  <a:lnTo>
                    <a:pt x="240341" y="159190"/>
                  </a:lnTo>
                  <a:lnTo>
                    <a:pt x="315186" y="234035"/>
                  </a:lnTo>
                  <a:lnTo>
                    <a:pt x="703246" y="234035"/>
                  </a:lnTo>
                  <a:lnTo>
                    <a:pt x="761463" y="292253"/>
                  </a:lnTo>
                  <a:lnTo>
                    <a:pt x="720883" y="332823"/>
                  </a:lnTo>
                  <a:close/>
                  <a:moveTo>
                    <a:pt x="191812" y="191811"/>
                  </a:moveTo>
                  <a:lnTo>
                    <a:pt x="147121" y="147112"/>
                  </a:lnTo>
                  <a:lnTo>
                    <a:pt x="189411" y="147112"/>
                  </a:lnTo>
                  <a:lnTo>
                    <a:pt x="189411" y="108260"/>
                  </a:lnTo>
                  <a:lnTo>
                    <a:pt x="232382" y="151231"/>
                  </a:lnTo>
                  <a:lnTo>
                    <a:pt x="191812" y="191811"/>
                  </a:lnTo>
                  <a:close/>
                  <a:moveTo>
                    <a:pt x="183236" y="102085"/>
                  </a:moveTo>
                  <a:lnTo>
                    <a:pt x="102085" y="102085"/>
                  </a:lnTo>
                  <a:lnTo>
                    <a:pt x="7006" y="7006"/>
                  </a:lnTo>
                  <a:lnTo>
                    <a:pt x="88157" y="7006"/>
                  </a:lnTo>
                  <a:lnTo>
                    <a:pt x="183236" y="102085"/>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7" name="Freeform: Shape 13396">
              <a:extLst>
                <a:ext uri="{FF2B5EF4-FFF2-40B4-BE49-F238E27FC236}">
                  <a16:creationId xmlns:a16="http://schemas.microsoft.com/office/drawing/2014/main" id="{FCEAD551-8BAF-43B6-AB2C-28128B65BD75}"/>
                </a:ext>
              </a:extLst>
            </p:cNvPr>
            <p:cNvSpPr/>
            <p:nvPr/>
          </p:nvSpPr>
          <p:spPr bwMode="ltGray">
            <a:xfrm>
              <a:off x="2830340" y="3409063"/>
              <a:ext cx="100889" cy="58292"/>
            </a:xfrm>
            <a:custGeom>
              <a:avLst/>
              <a:gdLst>
                <a:gd name="connsiteX0" fmla="*/ 94332 w 100889"/>
                <a:gd name="connsiteY0" fmla="*/ 52033 h 58291"/>
                <a:gd name="connsiteX1" fmla="*/ 52042 w 100889"/>
                <a:gd name="connsiteY1" fmla="*/ 52033 h 58291"/>
                <a:gd name="connsiteX2" fmla="*/ 7006 w 100889"/>
                <a:gd name="connsiteY2" fmla="*/ 7006 h 58291"/>
                <a:gd name="connsiteX3" fmla="*/ 88157 w 100889"/>
                <a:gd name="connsiteY3" fmla="*/ 7006 h 58291"/>
                <a:gd name="connsiteX4" fmla="*/ 94332 w 100889"/>
                <a:gd name="connsiteY4" fmla="*/ 13181 h 58291"/>
                <a:gd name="connsiteX5" fmla="*/ 94332 w 100889"/>
                <a:gd name="connsiteY5" fmla="*/ 52033 h 5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889" h="58291">
                  <a:moveTo>
                    <a:pt x="94332" y="52033"/>
                  </a:moveTo>
                  <a:lnTo>
                    <a:pt x="52042" y="52033"/>
                  </a:lnTo>
                  <a:lnTo>
                    <a:pt x="7006" y="7006"/>
                  </a:lnTo>
                  <a:lnTo>
                    <a:pt x="88157" y="7006"/>
                  </a:lnTo>
                  <a:lnTo>
                    <a:pt x="94332" y="13181"/>
                  </a:lnTo>
                  <a:lnTo>
                    <a:pt x="94332" y="5203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8" name="Freeform: Shape 13397">
              <a:extLst>
                <a:ext uri="{FF2B5EF4-FFF2-40B4-BE49-F238E27FC236}">
                  <a16:creationId xmlns:a16="http://schemas.microsoft.com/office/drawing/2014/main" id="{5B7D0DFD-606F-4F12-B378-5E83EBCBEA8B}"/>
                </a:ext>
              </a:extLst>
            </p:cNvPr>
            <p:cNvSpPr/>
            <p:nvPr/>
          </p:nvSpPr>
          <p:spPr bwMode="ltGray">
            <a:xfrm>
              <a:off x="2920066" y="3458210"/>
              <a:ext cx="60534" cy="60534"/>
            </a:xfrm>
            <a:custGeom>
              <a:avLst/>
              <a:gdLst>
                <a:gd name="connsiteX0" fmla="*/ 14965 w 60533"/>
                <a:gd name="connsiteY0" fmla="*/ 55536 h 60533"/>
                <a:gd name="connsiteX1" fmla="*/ 7006 w 60533"/>
                <a:gd name="connsiteY1" fmla="*/ 47586 h 60533"/>
                <a:gd name="connsiteX2" fmla="*/ 47577 w 60533"/>
                <a:gd name="connsiteY2" fmla="*/ 7006 h 60533"/>
                <a:gd name="connsiteX3" fmla="*/ 55536 w 60533"/>
                <a:gd name="connsiteY3" fmla="*/ 14965 h 60533"/>
                <a:gd name="connsiteX4" fmla="*/ 14965 w 60533"/>
                <a:gd name="connsiteY4" fmla="*/ 55536 h 60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533" h="60533">
                  <a:moveTo>
                    <a:pt x="14965" y="55536"/>
                  </a:moveTo>
                  <a:lnTo>
                    <a:pt x="7006" y="47586"/>
                  </a:lnTo>
                  <a:lnTo>
                    <a:pt x="47577" y="7006"/>
                  </a:lnTo>
                  <a:lnTo>
                    <a:pt x="55536" y="14965"/>
                  </a:lnTo>
                  <a:lnTo>
                    <a:pt x="14965" y="5553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399" name="Freeform: Shape 13398">
              <a:extLst>
                <a:ext uri="{FF2B5EF4-FFF2-40B4-BE49-F238E27FC236}">
                  <a16:creationId xmlns:a16="http://schemas.microsoft.com/office/drawing/2014/main" id="{1A4C3DF0-356E-4F88-9F9E-321DF219553F}"/>
                </a:ext>
              </a:extLst>
            </p:cNvPr>
            <p:cNvSpPr/>
            <p:nvPr/>
          </p:nvSpPr>
          <p:spPr bwMode="ltGray">
            <a:xfrm>
              <a:off x="-2860" y="3068319"/>
              <a:ext cx="2797999" cy="224199"/>
            </a:xfrm>
            <a:custGeom>
              <a:avLst/>
              <a:gdLst>
                <a:gd name="connsiteX0" fmla="*/ 2791854 w 2797998"/>
                <a:gd name="connsiteY0" fmla="*/ 218248 h 224198"/>
                <a:gd name="connsiteX1" fmla="*/ 2710704 w 2797998"/>
                <a:gd name="connsiteY1" fmla="*/ 218248 h 224198"/>
                <a:gd name="connsiteX2" fmla="*/ 2682016 w 2797998"/>
                <a:gd name="connsiteY2" fmla="*/ 189560 h 224198"/>
                <a:gd name="connsiteX3" fmla="*/ 2763166 w 2797998"/>
                <a:gd name="connsiteY3" fmla="*/ 189560 h 224198"/>
                <a:gd name="connsiteX4" fmla="*/ 2791854 w 2797998"/>
                <a:gd name="connsiteY4" fmla="*/ 218248 h 224198"/>
                <a:gd name="connsiteX5" fmla="*/ 2740214 w 2797998"/>
                <a:gd name="connsiteY5" fmla="*/ 166598 h 224198"/>
                <a:gd name="connsiteX6" fmla="*/ 2659063 w 2797998"/>
                <a:gd name="connsiteY6" fmla="*/ 166598 h 224198"/>
                <a:gd name="connsiteX7" fmla="*/ 2609983 w 2797998"/>
                <a:gd name="connsiteY7" fmla="*/ 117527 h 224198"/>
                <a:gd name="connsiteX8" fmla="*/ 2639689 w 2797998"/>
                <a:gd name="connsiteY8" fmla="*/ 66083 h 224198"/>
                <a:gd name="connsiteX9" fmla="*/ 2740214 w 2797998"/>
                <a:gd name="connsiteY9" fmla="*/ 166598 h 224198"/>
                <a:gd name="connsiteX10" fmla="*/ 2597773 w 2797998"/>
                <a:gd name="connsiteY10" fmla="*/ 105317 h 224198"/>
                <a:gd name="connsiteX11" fmla="*/ 2556847 w 2797998"/>
                <a:gd name="connsiteY11" fmla="*/ 64392 h 224198"/>
                <a:gd name="connsiteX12" fmla="*/ 1938115 w 2797998"/>
                <a:gd name="connsiteY12" fmla="*/ 64392 h 224198"/>
                <a:gd name="connsiteX13" fmla="*/ 1904989 w 2797998"/>
                <a:gd name="connsiteY13" fmla="*/ 7006 h 224198"/>
                <a:gd name="connsiteX14" fmla="*/ 2580622 w 2797998"/>
                <a:gd name="connsiteY14" fmla="*/ 7006 h 224198"/>
                <a:gd name="connsiteX15" fmla="*/ 2627479 w 2797998"/>
                <a:gd name="connsiteY15" fmla="*/ 53864 h 224198"/>
                <a:gd name="connsiteX16" fmla="*/ 2597773 w 2797998"/>
                <a:gd name="connsiteY16" fmla="*/ 105317 h 224198"/>
                <a:gd name="connsiteX17" fmla="*/ 1918852 w 2797998"/>
                <a:gd name="connsiteY17" fmla="*/ 64392 h 224198"/>
                <a:gd name="connsiteX18" fmla="*/ 1659202 w 2797998"/>
                <a:gd name="connsiteY18" fmla="*/ 64392 h 224198"/>
                <a:gd name="connsiteX19" fmla="*/ 1601816 w 2797998"/>
                <a:gd name="connsiteY19" fmla="*/ 7006 h 224198"/>
                <a:gd name="connsiteX20" fmla="*/ 1885727 w 2797998"/>
                <a:gd name="connsiteY20" fmla="*/ 7006 h 224198"/>
                <a:gd name="connsiteX21" fmla="*/ 1918852 w 2797998"/>
                <a:gd name="connsiteY21" fmla="*/ 64392 h 224198"/>
                <a:gd name="connsiteX22" fmla="*/ 1651336 w 2797998"/>
                <a:gd name="connsiteY22" fmla="*/ 64392 h 224198"/>
                <a:gd name="connsiteX23" fmla="*/ 1481534 w 2797998"/>
                <a:gd name="connsiteY23" fmla="*/ 64392 h 224198"/>
                <a:gd name="connsiteX24" fmla="*/ 1481534 w 2797998"/>
                <a:gd name="connsiteY24" fmla="*/ 63626 h 224198"/>
                <a:gd name="connsiteX25" fmla="*/ 1359598 w 2797998"/>
                <a:gd name="connsiteY25" fmla="*/ 63626 h 224198"/>
                <a:gd name="connsiteX26" fmla="*/ 1359598 w 2797998"/>
                <a:gd name="connsiteY26" fmla="*/ 64392 h 224198"/>
                <a:gd name="connsiteX27" fmla="*/ 1327182 w 2797998"/>
                <a:gd name="connsiteY27" fmla="*/ 64392 h 224198"/>
                <a:gd name="connsiteX28" fmla="*/ 1282529 w 2797998"/>
                <a:gd name="connsiteY28" fmla="*/ 29024 h 224198"/>
                <a:gd name="connsiteX29" fmla="*/ 1237886 w 2797998"/>
                <a:gd name="connsiteY29" fmla="*/ 64392 h 224198"/>
                <a:gd name="connsiteX30" fmla="*/ 793169 w 2797998"/>
                <a:gd name="connsiteY30" fmla="*/ 64392 h 224198"/>
                <a:gd name="connsiteX31" fmla="*/ 749683 w 2797998"/>
                <a:gd name="connsiteY31" fmla="*/ 30155 h 224198"/>
                <a:gd name="connsiteX32" fmla="*/ 706189 w 2797998"/>
                <a:gd name="connsiteY32" fmla="*/ 64392 h 224198"/>
                <a:gd name="connsiteX33" fmla="*/ 444969 w 2797998"/>
                <a:gd name="connsiteY33" fmla="*/ 64392 h 224198"/>
                <a:gd name="connsiteX34" fmla="*/ 502355 w 2797998"/>
                <a:gd name="connsiteY34" fmla="*/ 7006 h 224198"/>
                <a:gd name="connsiteX35" fmla="*/ 1593960 w 2797998"/>
                <a:gd name="connsiteY35" fmla="*/ 7006 h 224198"/>
                <a:gd name="connsiteX36" fmla="*/ 1651336 w 2797998"/>
                <a:gd name="connsiteY36" fmla="*/ 64392 h 224198"/>
                <a:gd name="connsiteX37" fmla="*/ 784406 w 2797998"/>
                <a:gd name="connsiteY37" fmla="*/ 64392 h 224198"/>
                <a:gd name="connsiteX38" fmla="*/ 714961 w 2797998"/>
                <a:gd name="connsiteY38" fmla="*/ 64392 h 224198"/>
                <a:gd name="connsiteX39" fmla="*/ 749683 w 2797998"/>
                <a:gd name="connsiteY39" fmla="*/ 38618 h 224198"/>
                <a:gd name="connsiteX40" fmla="*/ 784406 w 2797998"/>
                <a:gd name="connsiteY40" fmla="*/ 64392 h 224198"/>
                <a:gd name="connsiteX41" fmla="*/ 421372 w 2797998"/>
                <a:gd name="connsiteY41" fmla="*/ 64392 h 224198"/>
                <a:gd name="connsiteX42" fmla="*/ 358634 w 2797998"/>
                <a:gd name="connsiteY42" fmla="*/ 64392 h 224198"/>
                <a:gd name="connsiteX43" fmla="*/ 416010 w 2797998"/>
                <a:gd name="connsiteY43" fmla="*/ 7006 h 224198"/>
                <a:gd name="connsiteX44" fmla="*/ 478758 w 2797998"/>
                <a:gd name="connsiteY44" fmla="*/ 7006 h 224198"/>
                <a:gd name="connsiteX45" fmla="*/ 421372 w 2797998"/>
                <a:gd name="connsiteY45" fmla="*/ 64392 h 224198"/>
                <a:gd name="connsiteX46" fmla="*/ 350768 w 2797998"/>
                <a:gd name="connsiteY46" fmla="*/ 64392 h 224198"/>
                <a:gd name="connsiteX47" fmla="*/ 7006 w 2797998"/>
                <a:gd name="connsiteY47" fmla="*/ 64392 h 224198"/>
                <a:gd name="connsiteX48" fmla="*/ 7006 w 2797998"/>
                <a:gd name="connsiteY48" fmla="*/ 7006 h 224198"/>
                <a:gd name="connsiteX49" fmla="*/ 408145 w 2797998"/>
                <a:gd name="connsiteY49" fmla="*/ 7006 h 224198"/>
                <a:gd name="connsiteX50" fmla="*/ 350768 w 2797998"/>
                <a:gd name="connsiteY50" fmla="*/ 64392 h 224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797998" h="224198">
                  <a:moveTo>
                    <a:pt x="2791854" y="218248"/>
                  </a:moveTo>
                  <a:lnTo>
                    <a:pt x="2710704" y="218248"/>
                  </a:lnTo>
                  <a:lnTo>
                    <a:pt x="2682016" y="189560"/>
                  </a:lnTo>
                  <a:lnTo>
                    <a:pt x="2763166" y="189560"/>
                  </a:lnTo>
                  <a:lnTo>
                    <a:pt x="2791854" y="218248"/>
                  </a:lnTo>
                  <a:close/>
                  <a:moveTo>
                    <a:pt x="2740214" y="166598"/>
                  </a:moveTo>
                  <a:lnTo>
                    <a:pt x="2659063" y="166598"/>
                  </a:lnTo>
                  <a:lnTo>
                    <a:pt x="2609983" y="117527"/>
                  </a:lnTo>
                  <a:lnTo>
                    <a:pt x="2639689" y="66083"/>
                  </a:lnTo>
                  <a:lnTo>
                    <a:pt x="2740214" y="166598"/>
                  </a:lnTo>
                  <a:close/>
                  <a:moveTo>
                    <a:pt x="2597773" y="105317"/>
                  </a:moveTo>
                  <a:lnTo>
                    <a:pt x="2556847" y="64392"/>
                  </a:lnTo>
                  <a:lnTo>
                    <a:pt x="1938115" y="64392"/>
                  </a:lnTo>
                  <a:lnTo>
                    <a:pt x="1904989" y="7006"/>
                  </a:lnTo>
                  <a:lnTo>
                    <a:pt x="2580622" y="7006"/>
                  </a:lnTo>
                  <a:lnTo>
                    <a:pt x="2627479" y="53864"/>
                  </a:lnTo>
                  <a:lnTo>
                    <a:pt x="2597773" y="105317"/>
                  </a:lnTo>
                  <a:close/>
                  <a:moveTo>
                    <a:pt x="1918852" y="64392"/>
                  </a:moveTo>
                  <a:lnTo>
                    <a:pt x="1659202" y="64392"/>
                  </a:lnTo>
                  <a:lnTo>
                    <a:pt x="1601816" y="7006"/>
                  </a:lnTo>
                  <a:lnTo>
                    <a:pt x="1885727" y="7006"/>
                  </a:lnTo>
                  <a:lnTo>
                    <a:pt x="1918852" y="64392"/>
                  </a:lnTo>
                  <a:close/>
                  <a:moveTo>
                    <a:pt x="1651336" y="64392"/>
                  </a:moveTo>
                  <a:lnTo>
                    <a:pt x="1481534" y="64392"/>
                  </a:lnTo>
                  <a:lnTo>
                    <a:pt x="1481534" y="63626"/>
                  </a:lnTo>
                  <a:lnTo>
                    <a:pt x="1359598" y="63626"/>
                  </a:lnTo>
                  <a:lnTo>
                    <a:pt x="1359598" y="64392"/>
                  </a:lnTo>
                  <a:lnTo>
                    <a:pt x="1327182" y="64392"/>
                  </a:lnTo>
                  <a:cubicBezTo>
                    <a:pt x="1322437" y="44120"/>
                    <a:pt x="1304249" y="29024"/>
                    <a:pt x="1282529" y="29024"/>
                  </a:cubicBezTo>
                  <a:cubicBezTo>
                    <a:pt x="1260819" y="29024"/>
                    <a:pt x="1242631" y="44120"/>
                    <a:pt x="1237886" y="64392"/>
                  </a:cubicBezTo>
                  <a:lnTo>
                    <a:pt x="793169" y="64392"/>
                  </a:lnTo>
                  <a:cubicBezTo>
                    <a:pt x="788433" y="44774"/>
                    <a:pt x="770739" y="30155"/>
                    <a:pt x="749683" y="30155"/>
                  </a:cubicBezTo>
                  <a:cubicBezTo>
                    <a:pt x="728627" y="30155"/>
                    <a:pt x="710925" y="44774"/>
                    <a:pt x="706189" y="64392"/>
                  </a:cubicBezTo>
                  <a:lnTo>
                    <a:pt x="444969" y="64392"/>
                  </a:lnTo>
                  <a:lnTo>
                    <a:pt x="502355" y="7006"/>
                  </a:lnTo>
                  <a:lnTo>
                    <a:pt x="1593960" y="7006"/>
                  </a:lnTo>
                  <a:lnTo>
                    <a:pt x="1651336" y="64392"/>
                  </a:lnTo>
                  <a:close/>
                  <a:moveTo>
                    <a:pt x="784406" y="64392"/>
                  </a:moveTo>
                  <a:lnTo>
                    <a:pt x="714961" y="64392"/>
                  </a:lnTo>
                  <a:cubicBezTo>
                    <a:pt x="719473" y="49492"/>
                    <a:pt x="733326" y="38618"/>
                    <a:pt x="749683" y="38618"/>
                  </a:cubicBezTo>
                  <a:cubicBezTo>
                    <a:pt x="766031" y="38618"/>
                    <a:pt x="779894" y="49492"/>
                    <a:pt x="784406" y="64392"/>
                  </a:cubicBezTo>
                  <a:close/>
                  <a:moveTo>
                    <a:pt x="421372" y="64392"/>
                  </a:moveTo>
                  <a:lnTo>
                    <a:pt x="358634" y="64392"/>
                  </a:lnTo>
                  <a:lnTo>
                    <a:pt x="416010" y="7006"/>
                  </a:lnTo>
                  <a:lnTo>
                    <a:pt x="478758" y="7006"/>
                  </a:lnTo>
                  <a:lnTo>
                    <a:pt x="421372" y="64392"/>
                  </a:lnTo>
                  <a:close/>
                  <a:moveTo>
                    <a:pt x="350768" y="64392"/>
                  </a:moveTo>
                  <a:lnTo>
                    <a:pt x="7006" y="64392"/>
                  </a:lnTo>
                  <a:lnTo>
                    <a:pt x="7006" y="7006"/>
                  </a:lnTo>
                  <a:lnTo>
                    <a:pt x="408145" y="7006"/>
                  </a:lnTo>
                  <a:lnTo>
                    <a:pt x="350768" y="64392"/>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0" name="Freeform: Shape 13399">
              <a:extLst>
                <a:ext uri="{FF2B5EF4-FFF2-40B4-BE49-F238E27FC236}">
                  <a16:creationId xmlns:a16="http://schemas.microsoft.com/office/drawing/2014/main" id="{61BA5A21-DC05-440C-B9F0-15D240408CBE}"/>
                </a:ext>
              </a:extLst>
            </p:cNvPr>
            <p:cNvSpPr/>
            <p:nvPr/>
          </p:nvSpPr>
          <p:spPr bwMode="ltGray">
            <a:xfrm>
              <a:off x="1875860" y="3068319"/>
              <a:ext cx="766759" cy="123309"/>
            </a:xfrm>
            <a:custGeom>
              <a:avLst/>
              <a:gdLst>
                <a:gd name="connsiteX0" fmla="*/ 731262 w 766759"/>
                <a:gd name="connsiteY0" fmla="*/ 117527 h 123309"/>
                <a:gd name="connsiteX1" fmla="*/ 719052 w 766759"/>
                <a:gd name="connsiteY1" fmla="*/ 105317 h 123309"/>
                <a:gd name="connsiteX2" fmla="*/ 748759 w 766759"/>
                <a:gd name="connsiteY2" fmla="*/ 53864 h 123309"/>
                <a:gd name="connsiteX3" fmla="*/ 760968 w 766759"/>
                <a:gd name="connsiteY3" fmla="*/ 66083 h 123309"/>
                <a:gd name="connsiteX4" fmla="*/ 731262 w 766759"/>
                <a:gd name="connsiteY4" fmla="*/ 117527 h 123309"/>
                <a:gd name="connsiteX5" fmla="*/ 59394 w 766759"/>
                <a:gd name="connsiteY5" fmla="*/ 64392 h 123309"/>
                <a:gd name="connsiteX6" fmla="*/ 40131 w 766759"/>
                <a:gd name="connsiteY6" fmla="*/ 64392 h 123309"/>
                <a:gd name="connsiteX7" fmla="*/ 7006 w 766759"/>
                <a:gd name="connsiteY7" fmla="*/ 7006 h 123309"/>
                <a:gd name="connsiteX8" fmla="*/ 26269 w 766759"/>
                <a:gd name="connsiteY8" fmla="*/ 7006 h 123309"/>
                <a:gd name="connsiteX9" fmla="*/ 59394 w 766759"/>
                <a:gd name="connsiteY9" fmla="*/ 64392 h 123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6759" h="123309">
                  <a:moveTo>
                    <a:pt x="731262" y="117527"/>
                  </a:moveTo>
                  <a:lnTo>
                    <a:pt x="719052" y="105317"/>
                  </a:lnTo>
                  <a:lnTo>
                    <a:pt x="748759" y="53864"/>
                  </a:lnTo>
                  <a:lnTo>
                    <a:pt x="760968" y="66083"/>
                  </a:lnTo>
                  <a:lnTo>
                    <a:pt x="731262" y="117527"/>
                  </a:lnTo>
                  <a:close/>
                  <a:moveTo>
                    <a:pt x="59394" y="64392"/>
                  </a:moveTo>
                  <a:lnTo>
                    <a:pt x="40131" y="64392"/>
                  </a:lnTo>
                  <a:lnTo>
                    <a:pt x="7006" y="7006"/>
                  </a:lnTo>
                  <a:lnTo>
                    <a:pt x="26269" y="7006"/>
                  </a:lnTo>
                  <a:lnTo>
                    <a:pt x="59394" y="6439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1" name="Freeform: Shape 13400">
              <a:extLst>
                <a:ext uri="{FF2B5EF4-FFF2-40B4-BE49-F238E27FC236}">
                  <a16:creationId xmlns:a16="http://schemas.microsoft.com/office/drawing/2014/main" id="{D809BEB6-7EAE-4D48-96B4-775155B05A23}"/>
                </a:ext>
              </a:extLst>
            </p:cNvPr>
            <p:cNvSpPr/>
            <p:nvPr/>
          </p:nvSpPr>
          <p:spPr bwMode="ltGray">
            <a:xfrm>
              <a:off x="411506" y="3068319"/>
              <a:ext cx="94163" cy="69502"/>
            </a:xfrm>
            <a:custGeom>
              <a:avLst/>
              <a:gdLst>
                <a:gd name="connsiteX0" fmla="*/ 30603 w 94163"/>
                <a:gd name="connsiteY0" fmla="*/ 64392 h 69501"/>
                <a:gd name="connsiteX1" fmla="*/ 7006 w 94163"/>
                <a:gd name="connsiteY1" fmla="*/ 64392 h 69501"/>
                <a:gd name="connsiteX2" fmla="*/ 64392 w 94163"/>
                <a:gd name="connsiteY2" fmla="*/ 7006 h 69501"/>
                <a:gd name="connsiteX3" fmla="*/ 87989 w 94163"/>
                <a:gd name="connsiteY3" fmla="*/ 7006 h 69501"/>
                <a:gd name="connsiteX4" fmla="*/ 30603 w 94163"/>
                <a:gd name="connsiteY4" fmla="*/ 64392 h 69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163" h="69501">
                  <a:moveTo>
                    <a:pt x="30603" y="64392"/>
                  </a:moveTo>
                  <a:lnTo>
                    <a:pt x="7006" y="64392"/>
                  </a:lnTo>
                  <a:lnTo>
                    <a:pt x="64392" y="7006"/>
                  </a:lnTo>
                  <a:lnTo>
                    <a:pt x="87989" y="7006"/>
                  </a:lnTo>
                  <a:lnTo>
                    <a:pt x="30603" y="6439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2" name="Freeform: Shape 13401">
              <a:extLst>
                <a:ext uri="{FF2B5EF4-FFF2-40B4-BE49-F238E27FC236}">
                  <a16:creationId xmlns:a16="http://schemas.microsoft.com/office/drawing/2014/main" id="{8AC45C5D-DD47-4AB7-A971-B31AC0D5D452}"/>
                </a:ext>
              </a:extLst>
            </p:cNvPr>
            <p:cNvSpPr/>
            <p:nvPr/>
          </p:nvSpPr>
          <p:spPr bwMode="ltGray">
            <a:xfrm>
              <a:off x="340902" y="3068319"/>
              <a:ext cx="1320530" cy="69502"/>
            </a:xfrm>
            <a:custGeom>
              <a:avLst/>
              <a:gdLst>
                <a:gd name="connsiteX0" fmla="*/ 1315440 w 1320529"/>
                <a:gd name="connsiteY0" fmla="*/ 64392 h 69501"/>
                <a:gd name="connsiteX1" fmla="*/ 1307574 w 1320529"/>
                <a:gd name="connsiteY1" fmla="*/ 64392 h 69501"/>
                <a:gd name="connsiteX2" fmla="*/ 1250198 w 1320529"/>
                <a:gd name="connsiteY2" fmla="*/ 7006 h 69501"/>
                <a:gd name="connsiteX3" fmla="*/ 1258054 w 1320529"/>
                <a:gd name="connsiteY3" fmla="*/ 7006 h 69501"/>
                <a:gd name="connsiteX4" fmla="*/ 1315440 w 1320529"/>
                <a:gd name="connsiteY4" fmla="*/ 64392 h 69501"/>
                <a:gd name="connsiteX5" fmla="*/ 14872 w 1320529"/>
                <a:gd name="connsiteY5" fmla="*/ 64392 h 69501"/>
                <a:gd name="connsiteX6" fmla="*/ 7006 w 1320529"/>
                <a:gd name="connsiteY6" fmla="*/ 64392 h 69501"/>
                <a:gd name="connsiteX7" fmla="*/ 64382 w 1320529"/>
                <a:gd name="connsiteY7" fmla="*/ 7006 h 69501"/>
                <a:gd name="connsiteX8" fmla="*/ 72248 w 1320529"/>
                <a:gd name="connsiteY8" fmla="*/ 7006 h 69501"/>
                <a:gd name="connsiteX9" fmla="*/ 14872 w 1320529"/>
                <a:gd name="connsiteY9" fmla="*/ 64392 h 69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0529" h="69501">
                  <a:moveTo>
                    <a:pt x="1315440" y="64392"/>
                  </a:moveTo>
                  <a:lnTo>
                    <a:pt x="1307574" y="64392"/>
                  </a:lnTo>
                  <a:lnTo>
                    <a:pt x="1250198" y="7006"/>
                  </a:lnTo>
                  <a:lnTo>
                    <a:pt x="1258054" y="7006"/>
                  </a:lnTo>
                  <a:lnTo>
                    <a:pt x="1315440" y="64392"/>
                  </a:lnTo>
                  <a:close/>
                  <a:moveTo>
                    <a:pt x="14872" y="64392"/>
                  </a:moveTo>
                  <a:lnTo>
                    <a:pt x="7006" y="64392"/>
                  </a:lnTo>
                  <a:lnTo>
                    <a:pt x="64382" y="7006"/>
                  </a:lnTo>
                  <a:lnTo>
                    <a:pt x="72248" y="7006"/>
                  </a:lnTo>
                  <a:lnTo>
                    <a:pt x="14872" y="6439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3" name="Freeform: Shape 13402">
              <a:extLst>
                <a:ext uri="{FF2B5EF4-FFF2-40B4-BE49-F238E27FC236}">
                  <a16:creationId xmlns:a16="http://schemas.microsoft.com/office/drawing/2014/main" id="{FA7404B5-637C-4805-8507-5C2804A3B62D}"/>
                </a:ext>
              </a:extLst>
            </p:cNvPr>
            <p:cNvSpPr/>
            <p:nvPr/>
          </p:nvSpPr>
          <p:spPr bwMode="ltGray">
            <a:xfrm>
              <a:off x="696322" y="3091467"/>
              <a:ext cx="100889" cy="47082"/>
            </a:xfrm>
            <a:custGeom>
              <a:avLst/>
              <a:gdLst>
                <a:gd name="connsiteX0" fmla="*/ 93986 w 100889"/>
                <a:gd name="connsiteY0" fmla="*/ 41243 h 47081"/>
                <a:gd name="connsiteX1" fmla="*/ 85224 w 100889"/>
                <a:gd name="connsiteY1" fmla="*/ 41243 h 47081"/>
                <a:gd name="connsiteX2" fmla="*/ 50501 w 100889"/>
                <a:gd name="connsiteY2" fmla="*/ 15470 h 47081"/>
                <a:gd name="connsiteX3" fmla="*/ 15778 w 100889"/>
                <a:gd name="connsiteY3" fmla="*/ 41243 h 47081"/>
                <a:gd name="connsiteX4" fmla="*/ 7006 w 100889"/>
                <a:gd name="connsiteY4" fmla="*/ 41243 h 47081"/>
                <a:gd name="connsiteX5" fmla="*/ 50501 w 100889"/>
                <a:gd name="connsiteY5" fmla="*/ 7006 h 47081"/>
                <a:gd name="connsiteX6" fmla="*/ 93986 w 100889"/>
                <a:gd name="connsiteY6" fmla="*/ 41243 h 47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889" h="47081">
                  <a:moveTo>
                    <a:pt x="93986" y="41243"/>
                  </a:moveTo>
                  <a:lnTo>
                    <a:pt x="85224" y="41243"/>
                  </a:lnTo>
                  <a:cubicBezTo>
                    <a:pt x="80712" y="26343"/>
                    <a:pt x="66849" y="15470"/>
                    <a:pt x="50501" y="15470"/>
                  </a:cubicBezTo>
                  <a:cubicBezTo>
                    <a:pt x="34144" y="15470"/>
                    <a:pt x="20290" y="26343"/>
                    <a:pt x="15778" y="41243"/>
                  </a:cubicBezTo>
                  <a:lnTo>
                    <a:pt x="7006" y="41243"/>
                  </a:lnTo>
                  <a:cubicBezTo>
                    <a:pt x="11742" y="21626"/>
                    <a:pt x="29445" y="7006"/>
                    <a:pt x="50501" y="7006"/>
                  </a:cubicBezTo>
                  <a:cubicBezTo>
                    <a:pt x="71557" y="7006"/>
                    <a:pt x="89250" y="21626"/>
                    <a:pt x="93986" y="41243"/>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4" name="Freeform: Shape 13403">
              <a:extLst>
                <a:ext uri="{FF2B5EF4-FFF2-40B4-BE49-F238E27FC236}">
                  <a16:creationId xmlns:a16="http://schemas.microsoft.com/office/drawing/2014/main" id="{CE67BDAD-AF60-4E28-8AA0-CFBCEEE27FD6}"/>
                </a:ext>
              </a:extLst>
            </p:cNvPr>
            <p:cNvSpPr/>
            <p:nvPr/>
          </p:nvSpPr>
          <p:spPr bwMode="ltGray">
            <a:xfrm>
              <a:off x="1228019" y="3090337"/>
              <a:ext cx="103131" cy="49324"/>
            </a:xfrm>
            <a:custGeom>
              <a:avLst/>
              <a:gdLst>
                <a:gd name="connsiteX0" fmla="*/ 96303 w 103131"/>
                <a:gd name="connsiteY0" fmla="*/ 42374 h 49323"/>
                <a:gd name="connsiteX1" fmla="*/ 7006 w 103131"/>
                <a:gd name="connsiteY1" fmla="*/ 42374 h 49323"/>
                <a:gd name="connsiteX2" fmla="*/ 51650 w 103131"/>
                <a:gd name="connsiteY2" fmla="*/ 7006 h 49323"/>
                <a:gd name="connsiteX3" fmla="*/ 96303 w 103131"/>
                <a:gd name="connsiteY3" fmla="*/ 42374 h 49323"/>
              </a:gdLst>
              <a:ahLst/>
              <a:cxnLst>
                <a:cxn ang="0">
                  <a:pos x="connsiteX0" y="connsiteY0"/>
                </a:cxn>
                <a:cxn ang="0">
                  <a:pos x="connsiteX1" y="connsiteY1"/>
                </a:cxn>
                <a:cxn ang="0">
                  <a:pos x="connsiteX2" y="connsiteY2"/>
                </a:cxn>
                <a:cxn ang="0">
                  <a:pos x="connsiteX3" y="connsiteY3"/>
                </a:cxn>
              </a:cxnLst>
              <a:rect l="l" t="t" r="r" b="b"/>
              <a:pathLst>
                <a:path w="103131" h="49323">
                  <a:moveTo>
                    <a:pt x="96303" y="42374"/>
                  </a:moveTo>
                  <a:lnTo>
                    <a:pt x="7006" y="42374"/>
                  </a:lnTo>
                  <a:cubicBezTo>
                    <a:pt x="11752" y="22102"/>
                    <a:pt x="29940" y="7006"/>
                    <a:pt x="51650" y="7006"/>
                  </a:cubicBezTo>
                  <a:cubicBezTo>
                    <a:pt x="73369" y="7006"/>
                    <a:pt x="91557" y="22102"/>
                    <a:pt x="96303" y="42374"/>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5" name="Freeform: Shape 13404">
              <a:extLst>
                <a:ext uri="{FF2B5EF4-FFF2-40B4-BE49-F238E27FC236}">
                  <a16:creationId xmlns:a16="http://schemas.microsoft.com/office/drawing/2014/main" id="{5CA2392C-033C-4E8D-AC0C-8A0C75298136}"/>
                </a:ext>
              </a:extLst>
            </p:cNvPr>
            <p:cNvSpPr/>
            <p:nvPr/>
          </p:nvSpPr>
          <p:spPr bwMode="ltGray">
            <a:xfrm>
              <a:off x="1349731" y="3124938"/>
              <a:ext cx="134519" cy="13452"/>
            </a:xfrm>
            <a:custGeom>
              <a:avLst/>
              <a:gdLst>
                <a:gd name="connsiteX0" fmla="*/ 7006 w 134519"/>
                <a:gd name="connsiteY0" fmla="*/ 7006 h 13451"/>
                <a:gd name="connsiteX1" fmla="*/ 128942 w 134519"/>
                <a:gd name="connsiteY1" fmla="*/ 7006 h 13451"/>
                <a:gd name="connsiteX2" fmla="*/ 128942 w 134519"/>
                <a:gd name="connsiteY2" fmla="*/ 7772 h 13451"/>
                <a:gd name="connsiteX3" fmla="*/ 7006 w 134519"/>
                <a:gd name="connsiteY3" fmla="*/ 7772 h 13451"/>
              </a:gdLst>
              <a:ahLst/>
              <a:cxnLst>
                <a:cxn ang="0">
                  <a:pos x="connsiteX0" y="connsiteY0"/>
                </a:cxn>
                <a:cxn ang="0">
                  <a:pos x="connsiteX1" y="connsiteY1"/>
                </a:cxn>
                <a:cxn ang="0">
                  <a:pos x="connsiteX2" y="connsiteY2"/>
                </a:cxn>
                <a:cxn ang="0">
                  <a:pos x="connsiteX3" y="connsiteY3"/>
                </a:cxn>
              </a:cxnLst>
              <a:rect l="l" t="t" r="r" b="b"/>
              <a:pathLst>
                <a:path w="134519" h="13451">
                  <a:moveTo>
                    <a:pt x="7006" y="7006"/>
                  </a:moveTo>
                  <a:lnTo>
                    <a:pt x="128942" y="7006"/>
                  </a:lnTo>
                  <a:lnTo>
                    <a:pt x="128942" y="7772"/>
                  </a:lnTo>
                  <a:lnTo>
                    <a:pt x="7006" y="777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6" name="Freeform: Shape 13405">
              <a:extLst>
                <a:ext uri="{FF2B5EF4-FFF2-40B4-BE49-F238E27FC236}">
                  <a16:creationId xmlns:a16="http://schemas.microsoft.com/office/drawing/2014/main" id="{601D1245-A5AB-4607-8780-85711D9B4258}"/>
                </a:ext>
              </a:extLst>
            </p:cNvPr>
            <p:cNvSpPr/>
            <p:nvPr/>
          </p:nvSpPr>
          <p:spPr bwMode="ltGray">
            <a:xfrm>
              <a:off x="3297664" y="3093280"/>
              <a:ext cx="567223" cy="105373"/>
            </a:xfrm>
            <a:custGeom>
              <a:avLst/>
              <a:gdLst>
                <a:gd name="connsiteX0" fmla="*/ 562225 w 567222"/>
                <a:gd name="connsiteY0" fmla="*/ 98816 h 105373"/>
                <a:gd name="connsiteX1" fmla="*/ 366285 w 567222"/>
                <a:gd name="connsiteY1" fmla="*/ 98816 h 105373"/>
                <a:gd name="connsiteX2" fmla="*/ 274476 w 567222"/>
                <a:gd name="connsiteY2" fmla="*/ 7006 h 105373"/>
                <a:gd name="connsiteX3" fmla="*/ 387089 w 567222"/>
                <a:gd name="connsiteY3" fmla="*/ 7006 h 105373"/>
                <a:gd name="connsiteX4" fmla="*/ 387220 w 567222"/>
                <a:gd name="connsiteY4" fmla="*/ 7137 h 105373"/>
                <a:gd name="connsiteX5" fmla="*/ 509146 w 567222"/>
                <a:gd name="connsiteY5" fmla="*/ 7137 h 105373"/>
                <a:gd name="connsiteX6" fmla="*/ 509268 w 567222"/>
                <a:gd name="connsiteY6" fmla="*/ 7006 h 105373"/>
                <a:gd name="connsiteX7" fmla="*/ 562225 w 567222"/>
                <a:gd name="connsiteY7" fmla="*/ 7006 h 105373"/>
                <a:gd name="connsiteX8" fmla="*/ 562225 w 567222"/>
                <a:gd name="connsiteY8" fmla="*/ 98816 h 105373"/>
                <a:gd name="connsiteX9" fmla="*/ 461196 w 567222"/>
                <a:gd name="connsiteY9" fmla="*/ 35853 h 105373"/>
                <a:gd name="connsiteX10" fmla="*/ 461196 w 567222"/>
                <a:gd name="connsiteY10" fmla="*/ 41486 h 105373"/>
                <a:gd name="connsiteX11" fmla="*/ 528736 w 567222"/>
                <a:gd name="connsiteY11" fmla="*/ 41486 h 105373"/>
                <a:gd name="connsiteX12" fmla="*/ 528736 w 567222"/>
                <a:gd name="connsiteY12" fmla="*/ 35853 h 105373"/>
                <a:gd name="connsiteX13" fmla="*/ 461196 w 567222"/>
                <a:gd name="connsiteY13" fmla="*/ 35853 h 105373"/>
                <a:gd name="connsiteX14" fmla="*/ 326125 w 567222"/>
                <a:gd name="connsiteY14" fmla="*/ 35853 h 105373"/>
                <a:gd name="connsiteX15" fmla="*/ 326125 w 567222"/>
                <a:gd name="connsiteY15" fmla="*/ 41486 h 105373"/>
                <a:gd name="connsiteX16" fmla="*/ 393665 w 567222"/>
                <a:gd name="connsiteY16" fmla="*/ 41486 h 105373"/>
                <a:gd name="connsiteX17" fmla="*/ 393665 w 567222"/>
                <a:gd name="connsiteY17" fmla="*/ 35853 h 105373"/>
                <a:gd name="connsiteX18" fmla="*/ 326125 w 567222"/>
                <a:gd name="connsiteY18" fmla="*/ 35853 h 105373"/>
                <a:gd name="connsiteX19" fmla="*/ 342697 w 567222"/>
                <a:gd name="connsiteY19" fmla="*/ 98816 h 105373"/>
                <a:gd name="connsiteX20" fmla="*/ 171839 w 567222"/>
                <a:gd name="connsiteY20" fmla="*/ 98816 h 105373"/>
                <a:gd name="connsiteX21" fmla="*/ 151549 w 567222"/>
                <a:gd name="connsiteY21" fmla="*/ 78535 h 105373"/>
                <a:gd name="connsiteX22" fmla="*/ 7006 w 567222"/>
                <a:gd name="connsiteY22" fmla="*/ 78535 h 105373"/>
                <a:gd name="connsiteX23" fmla="*/ 78526 w 567222"/>
                <a:gd name="connsiteY23" fmla="*/ 7006 h 105373"/>
                <a:gd name="connsiteX24" fmla="*/ 250888 w 567222"/>
                <a:gd name="connsiteY24" fmla="*/ 7006 h 105373"/>
                <a:gd name="connsiteX25" fmla="*/ 342697 w 567222"/>
                <a:gd name="connsiteY25" fmla="*/ 98816 h 105373"/>
                <a:gd name="connsiteX26" fmla="*/ 191055 w 567222"/>
                <a:gd name="connsiteY26" fmla="*/ 35853 h 105373"/>
                <a:gd name="connsiteX27" fmla="*/ 191055 w 567222"/>
                <a:gd name="connsiteY27" fmla="*/ 41486 h 105373"/>
                <a:gd name="connsiteX28" fmla="*/ 258585 w 567222"/>
                <a:gd name="connsiteY28" fmla="*/ 41486 h 105373"/>
                <a:gd name="connsiteX29" fmla="*/ 258585 w 567222"/>
                <a:gd name="connsiteY29" fmla="*/ 35853 h 105373"/>
                <a:gd name="connsiteX30" fmla="*/ 191055 w 567222"/>
                <a:gd name="connsiteY30" fmla="*/ 35853 h 105373"/>
                <a:gd name="connsiteX31" fmla="*/ 55984 w 567222"/>
                <a:gd name="connsiteY31" fmla="*/ 35853 h 105373"/>
                <a:gd name="connsiteX32" fmla="*/ 55984 w 567222"/>
                <a:gd name="connsiteY32" fmla="*/ 41486 h 105373"/>
                <a:gd name="connsiteX33" fmla="*/ 123515 w 567222"/>
                <a:gd name="connsiteY33" fmla="*/ 41486 h 105373"/>
                <a:gd name="connsiteX34" fmla="*/ 123515 w 567222"/>
                <a:gd name="connsiteY34" fmla="*/ 35853 h 105373"/>
                <a:gd name="connsiteX35" fmla="*/ 55984 w 567222"/>
                <a:gd name="connsiteY35" fmla="*/ 35853 h 105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67222" h="105373">
                  <a:moveTo>
                    <a:pt x="562225" y="98816"/>
                  </a:moveTo>
                  <a:lnTo>
                    <a:pt x="366285" y="98816"/>
                  </a:lnTo>
                  <a:lnTo>
                    <a:pt x="274476" y="7006"/>
                  </a:lnTo>
                  <a:lnTo>
                    <a:pt x="387089" y="7006"/>
                  </a:lnTo>
                  <a:lnTo>
                    <a:pt x="387220" y="7137"/>
                  </a:lnTo>
                  <a:lnTo>
                    <a:pt x="509146" y="7137"/>
                  </a:lnTo>
                  <a:lnTo>
                    <a:pt x="509268" y="7006"/>
                  </a:lnTo>
                  <a:lnTo>
                    <a:pt x="562225" y="7006"/>
                  </a:lnTo>
                  <a:lnTo>
                    <a:pt x="562225" y="98816"/>
                  </a:lnTo>
                  <a:close/>
                  <a:moveTo>
                    <a:pt x="461196" y="35853"/>
                  </a:moveTo>
                  <a:lnTo>
                    <a:pt x="461196" y="41486"/>
                  </a:lnTo>
                  <a:lnTo>
                    <a:pt x="528736" y="41486"/>
                  </a:lnTo>
                  <a:lnTo>
                    <a:pt x="528736" y="35853"/>
                  </a:lnTo>
                  <a:lnTo>
                    <a:pt x="461196" y="35853"/>
                  </a:lnTo>
                  <a:close/>
                  <a:moveTo>
                    <a:pt x="326125" y="35853"/>
                  </a:moveTo>
                  <a:lnTo>
                    <a:pt x="326125" y="41486"/>
                  </a:lnTo>
                  <a:lnTo>
                    <a:pt x="393665" y="41486"/>
                  </a:lnTo>
                  <a:lnTo>
                    <a:pt x="393665" y="35853"/>
                  </a:lnTo>
                  <a:lnTo>
                    <a:pt x="326125" y="35853"/>
                  </a:lnTo>
                  <a:close/>
                  <a:moveTo>
                    <a:pt x="342697" y="98816"/>
                  </a:moveTo>
                  <a:lnTo>
                    <a:pt x="171839" y="98816"/>
                  </a:lnTo>
                  <a:lnTo>
                    <a:pt x="151549" y="78535"/>
                  </a:lnTo>
                  <a:lnTo>
                    <a:pt x="7006" y="78535"/>
                  </a:lnTo>
                  <a:lnTo>
                    <a:pt x="78526" y="7006"/>
                  </a:lnTo>
                  <a:lnTo>
                    <a:pt x="250888" y="7006"/>
                  </a:lnTo>
                  <a:lnTo>
                    <a:pt x="342697" y="98816"/>
                  </a:lnTo>
                  <a:close/>
                  <a:moveTo>
                    <a:pt x="191055" y="35853"/>
                  </a:moveTo>
                  <a:lnTo>
                    <a:pt x="191055" y="41486"/>
                  </a:lnTo>
                  <a:lnTo>
                    <a:pt x="258585" y="41486"/>
                  </a:lnTo>
                  <a:lnTo>
                    <a:pt x="258585" y="35853"/>
                  </a:lnTo>
                  <a:lnTo>
                    <a:pt x="191055" y="35853"/>
                  </a:lnTo>
                  <a:close/>
                  <a:moveTo>
                    <a:pt x="55984" y="35853"/>
                  </a:moveTo>
                  <a:lnTo>
                    <a:pt x="55984" y="41486"/>
                  </a:lnTo>
                  <a:lnTo>
                    <a:pt x="123515" y="41486"/>
                  </a:lnTo>
                  <a:lnTo>
                    <a:pt x="123515" y="35853"/>
                  </a:lnTo>
                  <a:lnTo>
                    <a:pt x="55984" y="35853"/>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7" name="Freeform: Shape 13406">
              <a:extLst>
                <a:ext uri="{FF2B5EF4-FFF2-40B4-BE49-F238E27FC236}">
                  <a16:creationId xmlns:a16="http://schemas.microsoft.com/office/drawing/2014/main" id="{4ED71919-2702-46E0-91AF-12DD42E224E8}"/>
                </a:ext>
              </a:extLst>
            </p:cNvPr>
            <p:cNvSpPr/>
            <p:nvPr/>
          </p:nvSpPr>
          <p:spPr bwMode="ltGray">
            <a:xfrm>
              <a:off x="3541545" y="3093280"/>
              <a:ext cx="127793" cy="105373"/>
            </a:xfrm>
            <a:custGeom>
              <a:avLst/>
              <a:gdLst>
                <a:gd name="connsiteX0" fmla="*/ 122403 w 127793"/>
                <a:gd name="connsiteY0" fmla="*/ 98816 h 105373"/>
                <a:gd name="connsiteX1" fmla="*/ 98816 w 127793"/>
                <a:gd name="connsiteY1" fmla="*/ 98816 h 105373"/>
                <a:gd name="connsiteX2" fmla="*/ 7006 w 127793"/>
                <a:gd name="connsiteY2" fmla="*/ 7006 h 105373"/>
                <a:gd name="connsiteX3" fmla="*/ 30594 w 127793"/>
                <a:gd name="connsiteY3" fmla="*/ 7006 h 105373"/>
                <a:gd name="connsiteX4" fmla="*/ 122403 w 127793"/>
                <a:gd name="connsiteY4" fmla="*/ 98816 h 10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793" h="105373">
                  <a:moveTo>
                    <a:pt x="122403" y="98816"/>
                  </a:moveTo>
                  <a:lnTo>
                    <a:pt x="98816" y="98816"/>
                  </a:lnTo>
                  <a:lnTo>
                    <a:pt x="7006" y="7006"/>
                  </a:lnTo>
                  <a:lnTo>
                    <a:pt x="30594" y="7006"/>
                  </a:lnTo>
                  <a:lnTo>
                    <a:pt x="122403" y="9881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8" name="Freeform: Shape 13407">
              <a:extLst>
                <a:ext uri="{FF2B5EF4-FFF2-40B4-BE49-F238E27FC236}">
                  <a16:creationId xmlns:a16="http://schemas.microsoft.com/office/drawing/2014/main" id="{3AA3C661-A383-4F27-8E8B-DEB69AF02F38}"/>
                </a:ext>
              </a:extLst>
            </p:cNvPr>
            <p:cNvSpPr/>
            <p:nvPr/>
          </p:nvSpPr>
          <p:spPr bwMode="ltGray">
            <a:xfrm>
              <a:off x="3677746" y="3093280"/>
              <a:ext cx="134519" cy="13452"/>
            </a:xfrm>
            <a:custGeom>
              <a:avLst/>
              <a:gdLst>
                <a:gd name="connsiteX0" fmla="*/ 129064 w 134519"/>
                <a:gd name="connsiteY0" fmla="*/ 7137 h 13451"/>
                <a:gd name="connsiteX1" fmla="*/ 7137 w 134519"/>
                <a:gd name="connsiteY1" fmla="*/ 7137 h 13451"/>
                <a:gd name="connsiteX2" fmla="*/ 7006 w 134519"/>
                <a:gd name="connsiteY2" fmla="*/ 7006 h 13451"/>
                <a:gd name="connsiteX3" fmla="*/ 129185 w 134519"/>
                <a:gd name="connsiteY3" fmla="*/ 7006 h 13451"/>
                <a:gd name="connsiteX4" fmla="*/ 129064 w 134519"/>
                <a:gd name="connsiteY4" fmla="*/ 7137 h 13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519" h="13451">
                  <a:moveTo>
                    <a:pt x="129064" y="7137"/>
                  </a:moveTo>
                  <a:lnTo>
                    <a:pt x="7137" y="7137"/>
                  </a:lnTo>
                  <a:lnTo>
                    <a:pt x="7006" y="7006"/>
                  </a:lnTo>
                  <a:lnTo>
                    <a:pt x="129185" y="7006"/>
                  </a:lnTo>
                  <a:lnTo>
                    <a:pt x="129064" y="7137"/>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09" name="Freeform: Shape 13408">
              <a:extLst>
                <a:ext uri="{FF2B5EF4-FFF2-40B4-BE49-F238E27FC236}">
                  <a16:creationId xmlns:a16="http://schemas.microsoft.com/office/drawing/2014/main" id="{99EAC45B-D4F3-4CED-AA8F-755B856387A3}"/>
                </a:ext>
              </a:extLst>
            </p:cNvPr>
            <p:cNvSpPr/>
            <p:nvPr/>
          </p:nvSpPr>
          <p:spPr bwMode="ltGray">
            <a:xfrm>
              <a:off x="3277374" y="3181689"/>
              <a:ext cx="174875" cy="15694"/>
            </a:xfrm>
            <a:custGeom>
              <a:avLst/>
              <a:gdLst>
                <a:gd name="connsiteX0" fmla="*/ 168252 w 174874"/>
                <a:gd name="connsiteY0" fmla="*/ 10407 h 15693"/>
                <a:gd name="connsiteX1" fmla="*/ 7006 w 174874"/>
                <a:gd name="connsiteY1" fmla="*/ 10407 h 15693"/>
                <a:gd name="connsiteX2" fmla="*/ 10407 w 174874"/>
                <a:gd name="connsiteY2" fmla="*/ 7006 h 15693"/>
                <a:gd name="connsiteX3" fmla="*/ 164842 w 174874"/>
                <a:gd name="connsiteY3" fmla="*/ 7006 h 15693"/>
                <a:gd name="connsiteX4" fmla="*/ 168252 w 174874"/>
                <a:gd name="connsiteY4" fmla="*/ 10407 h 15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74" h="15693">
                  <a:moveTo>
                    <a:pt x="168252" y="10407"/>
                  </a:moveTo>
                  <a:lnTo>
                    <a:pt x="7006" y="10407"/>
                  </a:lnTo>
                  <a:lnTo>
                    <a:pt x="10407" y="7006"/>
                  </a:lnTo>
                  <a:lnTo>
                    <a:pt x="164842" y="7006"/>
                  </a:lnTo>
                  <a:lnTo>
                    <a:pt x="168252" y="10407"/>
                  </a:lnTo>
                  <a:close/>
                </a:path>
              </a:pathLst>
            </a:custGeom>
            <a:solidFill>
              <a:srgbClr val="1C1D20"/>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0" name="Freeform: Shape 13409">
              <a:extLst>
                <a:ext uri="{FF2B5EF4-FFF2-40B4-BE49-F238E27FC236}">
                  <a16:creationId xmlns:a16="http://schemas.microsoft.com/office/drawing/2014/main" id="{F58B21E5-6CDE-4112-98D3-DF7192C9ED1C}"/>
                </a:ext>
              </a:extLst>
            </p:cNvPr>
            <p:cNvSpPr/>
            <p:nvPr/>
          </p:nvSpPr>
          <p:spPr bwMode="ltGray">
            <a:xfrm>
              <a:off x="3280774" y="3164808"/>
              <a:ext cx="195053" cy="33630"/>
            </a:xfrm>
            <a:custGeom>
              <a:avLst/>
              <a:gdLst>
                <a:gd name="connsiteX0" fmla="*/ 188729 w 195052"/>
                <a:gd name="connsiteY0" fmla="*/ 27287 h 33629"/>
                <a:gd name="connsiteX1" fmla="*/ 164852 w 195052"/>
                <a:gd name="connsiteY1" fmla="*/ 27287 h 33629"/>
                <a:gd name="connsiteX2" fmla="*/ 161442 w 195052"/>
                <a:gd name="connsiteY2" fmla="*/ 23886 h 33629"/>
                <a:gd name="connsiteX3" fmla="*/ 7006 w 195052"/>
                <a:gd name="connsiteY3" fmla="*/ 23886 h 33629"/>
                <a:gd name="connsiteX4" fmla="*/ 23896 w 195052"/>
                <a:gd name="connsiteY4" fmla="*/ 7006 h 33629"/>
                <a:gd name="connsiteX5" fmla="*/ 168438 w 195052"/>
                <a:gd name="connsiteY5" fmla="*/ 7006 h 33629"/>
                <a:gd name="connsiteX6" fmla="*/ 188729 w 195052"/>
                <a:gd name="connsiteY6" fmla="*/ 27287 h 33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052" h="33629">
                  <a:moveTo>
                    <a:pt x="188729" y="27287"/>
                  </a:moveTo>
                  <a:lnTo>
                    <a:pt x="164852" y="27287"/>
                  </a:lnTo>
                  <a:lnTo>
                    <a:pt x="161442" y="23886"/>
                  </a:lnTo>
                  <a:lnTo>
                    <a:pt x="7006" y="23886"/>
                  </a:lnTo>
                  <a:lnTo>
                    <a:pt x="23896" y="7006"/>
                  </a:lnTo>
                  <a:lnTo>
                    <a:pt x="168438" y="7006"/>
                  </a:lnTo>
                  <a:lnTo>
                    <a:pt x="188729" y="27287"/>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1" name="Freeform: Shape 13410">
              <a:extLst>
                <a:ext uri="{FF2B5EF4-FFF2-40B4-BE49-F238E27FC236}">
                  <a16:creationId xmlns:a16="http://schemas.microsoft.com/office/drawing/2014/main" id="{E4D4F69B-1D8B-4B4F-A204-731089AB74FD}"/>
                </a:ext>
              </a:extLst>
            </p:cNvPr>
            <p:cNvSpPr/>
            <p:nvPr/>
          </p:nvSpPr>
          <p:spPr bwMode="ltGray">
            <a:xfrm>
              <a:off x="3346642" y="3122127"/>
              <a:ext cx="80712" cy="17936"/>
            </a:xfrm>
            <a:custGeom>
              <a:avLst/>
              <a:gdLst>
                <a:gd name="connsiteX0" fmla="*/ 7006 w 80711"/>
                <a:gd name="connsiteY0" fmla="*/ 7006 h 17935"/>
                <a:gd name="connsiteX1" fmla="*/ 74537 w 80711"/>
                <a:gd name="connsiteY1" fmla="*/ 7006 h 17935"/>
                <a:gd name="connsiteX2" fmla="*/ 74537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37" y="7006"/>
                  </a:lnTo>
                  <a:lnTo>
                    <a:pt x="74537"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2" name="Freeform: Shape 13411">
              <a:extLst>
                <a:ext uri="{FF2B5EF4-FFF2-40B4-BE49-F238E27FC236}">
                  <a16:creationId xmlns:a16="http://schemas.microsoft.com/office/drawing/2014/main" id="{A6870F9B-22C2-47CC-9F24-23807B44E3ED}"/>
                </a:ext>
              </a:extLst>
            </p:cNvPr>
            <p:cNvSpPr/>
            <p:nvPr/>
          </p:nvSpPr>
          <p:spPr bwMode="ltGray">
            <a:xfrm>
              <a:off x="3481712" y="3122127"/>
              <a:ext cx="80712" cy="17936"/>
            </a:xfrm>
            <a:custGeom>
              <a:avLst/>
              <a:gdLst>
                <a:gd name="connsiteX0" fmla="*/ 7006 w 80711"/>
                <a:gd name="connsiteY0" fmla="*/ 7006 h 17935"/>
                <a:gd name="connsiteX1" fmla="*/ 74537 w 80711"/>
                <a:gd name="connsiteY1" fmla="*/ 7006 h 17935"/>
                <a:gd name="connsiteX2" fmla="*/ 74537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37" y="7006"/>
                  </a:lnTo>
                  <a:lnTo>
                    <a:pt x="74537"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3" name="Freeform: Shape 13412">
              <a:extLst>
                <a:ext uri="{FF2B5EF4-FFF2-40B4-BE49-F238E27FC236}">
                  <a16:creationId xmlns:a16="http://schemas.microsoft.com/office/drawing/2014/main" id="{0CAFD6A4-3232-4EB6-A264-2F91238D320B}"/>
                </a:ext>
              </a:extLst>
            </p:cNvPr>
            <p:cNvSpPr/>
            <p:nvPr/>
          </p:nvSpPr>
          <p:spPr bwMode="ltGray">
            <a:xfrm>
              <a:off x="3616783"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4" name="Freeform: Shape 13413">
              <a:extLst>
                <a:ext uri="{FF2B5EF4-FFF2-40B4-BE49-F238E27FC236}">
                  <a16:creationId xmlns:a16="http://schemas.microsoft.com/office/drawing/2014/main" id="{8064DD60-D0CC-4DC1-A3DE-B9BCC9341C55}"/>
                </a:ext>
              </a:extLst>
            </p:cNvPr>
            <p:cNvSpPr/>
            <p:nvPr/>
          </p:nvSpPr>
          <p:spPr bwMode="ltGray">
            <a:xfrm>
              <a:off x="3751853"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5" name="Freeform: Shape 13414">
              <a:extLst>
                <a:ext uri="{FF2B5EF4-FFF2-40B4-BE49-F238E27FC236}">
                  <a16:creationId xmlns:a16="http://schemas.microsoft.com/office/drawing/2014/main" id="{F3CA9C4E-806E-4B41-8D4F-D0E281109B11}"/>
                </a:ext>
              </a:extLst>
            </p:cNvPr>
            <p:cNvSpPr/>
            <p:nvPr/>
          </p:nvSpPr>
          <p:spPr bwMode="ltGray">
            <a:xfrm>
              <a:off x="2770414" y="2931688"/>
              <a:ext cx="562739" cy="266796"/>
            </a:xfrm>
            <a:custGeom>
              <a:avLst/>
              <a:gdLst>
                <a:gd name="connsiteX0" fmla="*/ 465278 w 562738"/>
                <a:gd name="connsiteY0" fmla="*/ 260407 h 266796"/>
                <a:gd name="connsiteX1" fmla="*/ 248739 w 562738"/>
                <a:gd name="connsiteY1" fmla="*/ 260407 h 266796"/>
                <a:gd name="connsiteX2" fmla="*/ 245330 w 562738"/>
                <a:gd name="connsiteY2" fmla="*/ 257007 h 266796"/>
                <a:gd name="connsiteX3" fmla="*/ 468688 w 562738"/>
                <a:gd name="connsiteY3" fmla="*/ 257007 h 266796"/>
                <a:gd name="connsiteX4" fmla="*/ 465278 w 562738"/>
                <a:gd name="connsiteY4" fmla="*/ 260407 h 266796"/>
                <a:gd name="connsiteX5" fmla="*/ 485568 w 562738"/>
                <a:gd name="connsiteY5" fmla="*/ 240126 h 266796"/>
                <a:gd name="connsiteX6" fmla="*/ 228449 w 562738"/>
                <a:gd name="connsiteY6" fmla="*/ 240126 h 266796"/>
                <a:gd name="connsiteX7" fmla="*/ 191401 w 562738"/>
                <a:gd name="connsiteY7" fmla="*/ 203078 h 266796"/>
                <a:gd name="connsiteX8" fmla="*/ 245554 w 562738"/>
                <a:gd name="connsiteY8" fmla="*/ 203078 h 266796"/>
                <a:gd name="connsiteX9" fmla="*/ 245554 w 562738"/>
                <a:gd name="connsiteY9" fmla="*/ 197445 h 266796"/>
                <a:gd name="connsiteX10" fmla="*/ 185777 w 562738"/>
                <a:gd name="connsiteY10" fmla="*/ 197445 h 266796"/>
                <a:gd name="connsiteX11" fmla="*/ 51117 w 562738"/>
                <a:gd name="connsiteY11" fmla="*/ 62785 h 266796"/>
                <a:gd name="connsiteX12" fmla="*/ 180947 w 562738"/>
                <a:gd name="connsiteY12" fmla="*/ 62785 h 266796"/>
                <a:gd name="connsiteX13" fmla="*/ 286760 w 562738"/>
                <a:gd name="connsiteY13" fmla="*/ 168598 h 266796"/>
                <a:gd name="connsiteX14" fmla="*/ 557097 w 562738"/>
                <a:gd name="connsiteY14" fmla="*/ 168598 h 266796"/>
                <a:gd name="connsiteX15" fmla="*/ 485568 w 562738"/>
                <a:gd name="connsiteY15" fmla="*/ 240126 h 266796"/>
                <a:gd name="connsiteX16" fmla="*/ 448155 w 562738"/>
                <a:gd name="connsiteY16" fmla="*/ 197445 h 266796"/>
                <a:gd name="connsiteX17" fmla="*/ 448155 w 562738"/>
                <a:gd name="connsiteY17" fmla="*/ 203078 h 266796"/>
                <a:gd name="connsiteX18" fmla="*/ 515695 w 562738"/>
                <a:gd name="connsiteY18" fmla="*/ 203078 h 266796"/>
                <a:gd name="connsiteX19" fmla="*/ 515695 w 562738"/>
                <a:gd name="connsiteY19" fmla="*/ 197445 h 266796"/>
                <a:gd name="connsiteX20" fmla="*/ 448155 w 562738"/>
                <a:gd name="connsiteY20" fmla="*/ 197445 h 266796"/>
                <a:gd name="connsiteX21" fmla="*/ 313084 w 562738"/>
                <a:gd name="connsiteY21" fmla="*/ 197445 h 266796"/>
                <a:gd name="connsiteX22" fmla="*/ 313084 w 562738"/>
                <a:gd name="connsiteY22" fmla="*/ 203078 h 266796"/>
                <a:gd name="connsiteX23" fmla="*/ 380624 w 562738"/>
                <a:gd name="connsiteY23" fmla="*/ 203078 h 266796"/>
                <a:gd name="connsiteX24" fmla="*/ 380624 w 562738"/>
                <a:gd name="connsiteY24" fmla="*/ 197445 h 266796"/>
                <a:gd name="connsiteX25" fmla="*/ 313084 w 562738"/>
                <a:gd name="connsiteY25" fmla="*/ 197445 h 266796"/>
                <a:gd name="connsiteX26" fmla="*/ 41860 w 562738"/>
                <a:gd name="connsiteY26" fmla="*/ 53537 h 266796"/>
                <a:gd name="connsiteX27" fmla="*/ 7006 w 562738"/>
                <a:gd name="connsiteY27" fmla="*/ 18674 h 266796"/>
                <a:gd name="connsiteX28" fmla="*/ 18665 w 562738"/>
                <a:gd name="connsiteY28" fmla="*/ 7006 h 266796"/>
                <a:gd name="connsiteX29" fmla="*/ 125178 w 562738"/>
                <a:gd name="connsiteY29" fmla="*/ 7006 h 266796"/>
                <a:gd name="connsiteX30" fmla="*/ 164263 w 562738"/>
                <a:gd name="connsiteY30" fmla="*/ 46101 h 266796"/>
                <a:gd name="connsiteX31" fmla="*/ 41860 w 562738"/>
                <a:gd name="connsiteY31" fmla="*/ 46101 h 266796"/>
                <a:gd name="connsiteX32" fmla="*/ 41860 w 562738"/>
                <a:gd name="connsiteY32" fmla="*/ 53537 h 266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62738" h="266796">
                  <a:moveTo>
                    <a:pt x="465278" y="260407"/>
                  </a:moveTo>
                  <a:lnTo>
                    <a:pt x="248739" y="260407"/>
                  </a:lnTo>
                  <a:lnTo>
                    <a:pt x="245330" y="257007"/>
                  </a:lnTo>
                  <a:lnTo>
                    <a:pt x="468688" y="257007"/>
                  </a:lnTo>
                  <a:lnTo>
                    <a:pt x="465278" y="260407"/>
                  </a:lnTo>
                  <a:close/>
                  <a:moveTo>
                    <a:pt x="485568" y="240126"/>
                  </a:moveTo>
                  <a:lnTo>
                    <a:pt x="228449" y="240126"/>
                  </a:lnTo>
                  <a:lnTo>
                    <a:pt x="191401" y="203078"/>
                  </a:lnTo>
                  <a:lnTo>
                    <a:pt x="245554" y="203078"/>
                  </a:lnTo>
                  <a:lnTo>
                    <a:pt x="245554" y="197445"/>
                  </a:lnTo>
                  <a:lnTo>
                    <a:pt x="185777" y="197445"/>
                  </a:lnTo>
                  <a:lnTo>
                    <a:pt x="51117" y="62785"/>
                  </a:lnTo>
                  <a:lnTo>
                    <a:pt x="180947" y="62785"/>
                  </a:lnTo>
                  <a:lnTo>
                    <a:pt x="286760" y="168598"/>
                  </a:lnTo>
                  <a:lnTo>
                    <a:pt x="557097" y="168598"/>
                  </a:lnTo>
                  <a:lnTo>
                    <a:pt x="485568" y="240126"/>
                  </a:lnTo>
                  <a:close/>
                  <a:moveTo>
                    <a:pt x="448155" y="197445"/>
                  </a:moveTo>
                  <a:lnTo>
                    <a:pt x="448155" y="203078"/>
                  </a:lnTo>
                  <a:lnTo>
                    <a:pt x="515695" y="203078"/>
                  </a:lnTo>
                  <a:lnTo>
                    <a:pt x="515695" y="197445"/>
                  </a:lnTo>
                  <a:lnTo>
                    <a:pt x="448155" y="197445"/>
                  </a:lnTo>
                  <a:close/>
                  <a:moveTo>
                    <a:pt x="313084" y="197445"/>
                  </a:moveTo>
                  <a:lnTo>
                    <a:pt x="313084" y="203078"/>
                  </a:lnTo>
                  <a:lnTo>
                    <a:pt x="380624" y="203078"/>
                  </a:lnTo>
                  <a:lnTo>
                    <a:pt x="380624" y="197445"/>
                  </a:lnTo>
                  <a:lnTo>
                    <a:pt x="313084" y="197445"/>
                  </a:lnTo>
                  <a:close/>
                  <a:moveTo>
                    <a:pt x="41860" y="53537"/>
                  </a:moveTo>
                  <a:lnTo>
                    <a:pt x="7006" y="18674"/>
                  </a:lnTo>
                  <a:lnTo>
                    <a:pt x="18665" y="7006"/>
                  </a:lnTo>
                  <a:lnTo>
                    <a:pt x="125178" y="7006"/>
                  </a:lnTo>
                  <a:lnTo>
                    <a:pt x="164263" y="46101"/>
                  </a:lnTo>
                  <a:lnTo>
                    <a:pt x="41860" y="46101"/>
                  </a:lnTo>
                  <a:lnTo>
                    <a:pt x="41860" y="53537"/>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6" name="Freeform: Shape 13415">
              <a:extLst>
                <a:ext uri="{FF2B5EF4-FFF2-40B4-BE49-F238E27FC236}">
                  <a16:creationId xmlns:a16="http://schemas.microsoft.com/office/drawing/2014/main" id="{06314DBA-124E-49CB-81D4-557C52418B3E}"/>
                </a:ext>
              </a:extLst>
            </p:cNvPr>
            <p:cNvSpPr/>
            <p:nvPr/>
          </p:nvSpPr>
          <p:spPr bwMode="ltGray">
            <a:xfrm>
              <a:off x="2805267" y="2970783"/>
              <a:ext cx="152455" cy="29146"/>
            </a:xfrm>
            <a:custGeom>
              <a:avLst/>
              <a:gdLst>
                <a:gd name="connsiteX0" fmla="*/ 146094 w 152455"/>
                <a:gd name="connsiteY0" fmla="*/ 23690 h 29145"/>
                <a:gd name="connsiteX1" fmla="*/ 16264 w 152455"/>
                <a:gd name="connsiteY1" fmla="*/ 23690 h 29145"/>
                <a:gd name="connsiteX2" fmla="*/ 7006 w 152455"/>
                <a:gd name="connsiteY2" fmla="*/ 14442 h 29145"/>
                <a:gd name="connsiteX3" fmla="*/ 7006 w 152455"/>
                <a:gd name="connsiteY3" fmla="*/ 7006 h 29145"/>
                <a:gd name="connsiteX4" fmla="*/ 129409 w 152455"/>
                <a:gd name="connsiteY4" fmla="*/ 7006 h 29145"/>
                <a:gd name="connsiteX5" fmla="*/ 146094 w 152455"/>
                <a:gd name="connsiteY5" fmla="*/ 23690 h 29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455" h="29145">
                  <a:moveTo>
                    <a:pt x="146094" y="23690"/>
                  </a:moveTo>
                  <a:lnTo>
                    <a:pt x="16264" y="23690"/>
                  </a:lnTo>
                  <a:lnTo>
                    <a:pt x="7006" y="14442"/>
                  </a:lnTo>
                  <a:lnTo>
                    <a:pt x="7006" y="7006"/>
                  </a:lnTo>
                  <a:lnTo>
                    <a:pt x="129409" y="7006"/>
                  </a:lnTo>
                  <a:lnTo>
                    <a:pt x="146094" y="2369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7" name="Freeform: Shape 13416">
              <a:extLst>
                <a:ext uri="{FF2B5EF4-FFF2-40B4-BE49-F238E27FC236}">
                  <a16:creationId xmlns:a16="http://schemas.microsoft.com/office/drawing/2014/main" id="{FC07BC4C-2A01-48FA-93E3-1AE307550047}"/>
                </a:ext>
              </a:extLst>
            </p:cNvPr>
            <p:cNvSpPr/>
            <p:nvPr/>
          </p:nvSpPr>
          <p:spPr bwMode="ltGray">
            <a:xfrm>
              <a:off x="2782072" y="2878441"/>
              <a:ext cx="118825" cy="65018"/>
            </a:xfrm>
            <a:custGeom>
              <a:avLst/>
              <a:gdLst>
                <a:gd name="connsiteX0" fmla="*/ 113519 w 118825"/>
                <a:gd name="connsiteY0" fmla="*/ 60253 h 65017"/>
                <a:gd name="connsiteX1" fmla="*/ 7006 w 118825"/>
                <a:gd name="connsiteY1" fmla="*/ 60253 h 65017"/>
                <a:gd name="connsiteX2" fmla="*/ 60263 w 118825"/>
                <a:gd name="connsiteY2" fmla="*/ 7006 h 65017"/>
                <a:gd name="connsiteX3" fmla="*/ 113519 w 118825"/>
                <a:gd name="connsiteY3" fmla="*/ 60253 h 65017"/>
              </a:gdLst>
              <a:ahLst/>
              <a:cxnLst>
                <a:cxn ang="0">
                  <a:pos x="connsiteX0" y="connsiteY0"/>
                </a:cxn>
                <a:cxn ang="0">
                  <a:pos x="connsiteX1" y="connsiteY1"/>
                </a:cxn>
                <a:cxn ang="0">
                  <a:pos x="connsiteX2" y="connsiteY2"/>
                </a:cxn>
                <a:cxn ang="0">
                  <a:pos x="connsiteX3" y="connsiteY3"/>
                </a:cxn>
              </a:cxnLst>
              <a:rect l="l" t="t" r="r" b="b"/>
              <a:pathLst>
                <a:path w="118825" h="65017">
                  <a:moveTo>
                    <a:pt x="113519" y="60253"/>
                  </a:moveTo>
                  <a:lnTo>
                    <a:pt x="7006" y="60253"/>
                  </a:lnTo>
                  <a:lnTo>
                    <a:pt x="60263" y="7006"/>
                  </a:lnTo>
                  <a:lnTo>
                    <a:pt x="113519" y="6025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8" name="Freeform: Shape 13417">
              <a:extLst>
                <a:ext uri="{FF2B5EF4-FFF2-40B4-BE49-F238E27FC236}">
                  <a16:creationId xmlns:a16="http://schemas.microsoft.com/office/drawing/2014/main" id="{BBB7FDCA-74FD-47BF-A57B-F7D0264FDC0B}"/>
                </a:ext>
              </a:extLst>
            </p:cNvPr>
            <p:cNvSpPr/>
            <p:nvPr/>
          </p:nvSpPr>
          <p:spPr bwMode="ltGray">
            <a:xfrm>
              <a:off x="2991857" y="3164808"/>
              <a:ext cx="269038" cy="29146"/>
            </a:xfrm>
            <a:custGeom>
              <a:avLst/>
              <a:gdLst>
                <a:gd name="connsiteX0" fmla="*/ 247245 w 269038"/>
                <a:gd name="connsiteY0" fmla="*/ 23886 h 29145"/>
                <a:gd name="connsiteX1" fmla="*/ 23887 w 269038"/>
                <a:gd name="connsiteY1" fmla="*/ 23886 h 29145"/>
                <a:gd name="connsiteX2" fmla="*/ 7006 w 269038"/>
                <a:gd name="connsiteY2" fmla="*/ 7006 h 29145"/>
                <a:gd name="connsiteX3" fmla="*/ 264125 w 269038"/>
                <a:gd name="connsiteY3" fmla="*/ 7006 h 29145"/>
                <a:gd name="connsiteX4" fmla="*/ 247245 w 269038"/>
                <a:gd name="connsiteY4" fmla="*/ 23886 h 2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038" h="29145">
                  <a:moveTo>
                    <a:pt x="247245" y="23886"/>
                  </a:moveTo>
                  <a:lnTo>
                    <a:pt x="23887" y="23886"/>
                  </a:lnTo>
                  <a:lnTo>
                    <a:pt x="7006" y="7006"/>
                  </a:lnTo>
                  <a:lnTo>
                    <a:pt x="264125" y="7006"/>
                  </a:lnTo>
                  <a:lnTo>
                    <a:pt x="247245" y="2388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19" name="Freeform: Shape 13418">
              <a:extLst>
                <a:ext uri="{FF2B5EF4-FFF2-40B4-BE49-F238E27FC236}">
                  <a16:creationId xmlns:a16="http://schemas.microsoft.com/office/drawing/2014/main" id="{3108856E-5E4A-4ED8-8AF8-641E02BF657E}"/>
                </a:ext>
              </a:extLst>
            </p:cNvPr>
            <p:cNvSpPr/>
            <p:nvPr/>
          </p:nvSpPr>
          <p:spPr bwMode="ltGray">
            <a:xfrm>
              <a:off x="3211562"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0" name="Freeform: Shape 13419">
              <a:extLst>
                <a:ext uri="{FF2B5EF4-FFF2-40B4-BE49-F238E27FC236}">
                  <a16:creationId xmlns:a16="http://schemas.microsoft.com/office/drawing/2014/main" id="{D117FD1C-BD12-4E50-9B2B-7013AEDA153F}"/>
                </a:ext>
              </a:extLst>
            </p:cNvPr>
            <p:cNvSpPr/>
            <p:nvPr/>
          </p:nvSpPr>
          <p:spPr bwMode="ltGray">
            <a:xfrm>
              <a:off x="2949184" y="3122127"/>
              <a:ext cx="71744" cy="17936"/>
            </a:xfrm>
            <a:custGeom>
              <a:avLst/>
              <a:gdLst>
                <a:gd name="connsiteX0" fmla="*/ 66783 w 71743"/>
                <a:gd name="connsiteY0" fmla="*/ 12639 h 17935"/>
                <a:gd name="connsiteX1" fmla="*/ 12630 w 71743"/>
                <a:gd name="connsiteY1" fmla="*/ 12639 h 17935"/>
                <a:gd name="connsiteX2" fmla="*/ 7006 w 71743"/>
                <a:gd name="connsiteY2" fmla="*/ 7006 h 17935"/>
                <a:gd name="connsiteX3" fmla="*/ 66783 w 71743"/>
                <a:gd name="connsiteY3" fmla="*/ 7006 h 17935"/>
                <a:gd name="connsiteX4" fmla="*/ 66783 w 71743"/>
                <a:gd name="connsiteY4" fmla="*/ 12639 h 17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43" h="17935">
                  <a:moveTo>
                    <a:pt x="66783" y="12639"/>
                  </a:moveTo>
                  <a:lnTo>
                    <a:pt x="12630" y="12639"/>
                  </a:lnTo>
                  <a:lnTo>
                    <a:pt x="7006" y="7006"/>
                  </a:lnTo>
                  <a:lnTo>
                    <a:pt x="66783" y="7006"/>
                  </a:lnTo>
                  <a:lnTo>
                    <a:pt x="66783"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1" name="Freeform: Shape 13420">
              <a:extLst>
                <a:ext uri="{FF2B5EF4-FFF2-40B4-BE49-F238E27FC236}">
                  <a16:creationId xmlns:a16="http://schemas.microsoft.com/office/drawing/2014/main" id="{04DDC2C7-EB75-4669-A4DE-09DAF6BC2BAE}"/>
                </a:ext>
              </a:extLst>
            </p:cNvPr>
            <p:cNvSpPr/>
            <p:nvPr/>
          </p:nvSpPr>
          <p:spPr bwMode="ltGray">
            <a:xfrm>
              <a:off x="3076492" y="3122127"/>
              <a:ext cx="80712" cy="17936"/>
            </a:xfrm>
            <a:custGeom>
              <a:avLst/>
              <a:gdLst>
                <a:gd name="connsiteX0" fmla="*/ 7006 w 80711"/>
                <a:gd name="connsiteY0" fmla="*/ 7006 h 17935"/>
                <a:gd name="connsiteX1" fmla="*/ 74546 w 80711"/>
                <a:gd name="connsiteY1" fmla="*/ 7006 h 17935"/>
                <a:gd name="connsiteX2" fmla="*/ 74546 w 80711"/>
                <a:gd name="connsiteY2" fmla="*/ 12639 h 17935"/>
                <a:gd name="connsiteX3" fmla="*/ 7006 w 80711"/>
                <a:gd name="connsiteY3" fmla="*/ 12639 h 17935"/>
              </a:gdLst>
              <a:ahLst/>
              <a:cxnLst>
                <a:cxn ang="0">
                  <a:pos x="connsiteX0" y="connsiteY0"/>
                </a:cxn>
                <a:cxn ang="0">
                  <a:pos x="connsiteX1" y="connsiteY1"/>
                </a:cxn>
                <a:cxn ang="0">
                  <a:pos x="connsiteX2" y="connsiteY2"/>
                </a:cxn>
                <a:cxn ang="0">
                  <a:pos x="connsiteX3" y="connsiteY3"/>
                </a:cxn>
              </a:cxnLst>
              <a:rect l="l" t="t" r="r" b="b"/>
              <a:pathLst>
                <a:path w="80711" h="17935">
                  <a:moveTo>
                    <a:pt x="7006" y="7006"/>
                  </a:moveTo>
                  <a:lnTo>
                    <a:pt x="74546" y="7006"/>
                  </a:lnTo>
                  <a:lnTo>
                    <a:pt x="74546" y="12639"/>
                  </a:lnTo>
                  <a:lnTo>
                    <a:pt x="7006" y="126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2" name="Freeform: Shape 13421">
              <a:extLst>
                <a:ext uri="{FF2B5EF4-FFF2-40B4-BE49-F238E27FC236}">
                  <a16:creationId xmlns:a16="http://schemas.microsoft.com/office/drawing/2014/main" id="{5C8C4FB8-31C6-455A-B729-A1F433048BFB}"/>
                </a:ext>
              </a:extLst>
            </p:cNvPr>
            <p:cNvSpPr/>
            <p:nvPr/>
          </p:nvSpPr>
          <p:spPr bwMode="ltGray">
            <a:xfrm>
              <a:off x="329972" y="2822419"/>
              <a:ext cx="2502057" cy="105373"/>
            </a:xfrm>
            <a:custGeom>
              <a:avLst/>
              <a:gdLst>
                <a:gd name="connsiteX0" fmla="*/ 2409259 w 2502056"/>
                <a:gd name="connsiteY0" fmla="*/ 98816 h 105373"/>
                <a:gd name="connsiteX1" fmla="*/ 2354984 w 2502056"/>
                <a:gd name="connsiteY1" fmla="*/ 98816 h 105373"/>
                <a:gd name="connsiteX2" fmla="*/ 2301980 w 2502056"/>
                <a:gd name="connsiteY2" fmla="*/ 7006 h 105373"/>
                <a:gd name="connsiteX3" fmla="*/ 2456341 w 2502056"/>
                <a:gd name="connsiteY3" fmla="*/ 7006 h 105373"/>
                <a:gd name="connsiteX4" fmla="*/ 2496136 w 2502056"/>
                <a:gd name="connsiteY4" fmla="*/ 46792 h 105373"/>
                <a:gd name="connsiteX5" fmla="*/ 2482927 w 2502056"/>
                <a:gd name="connsiteY5" fmla="*/ 60001 h 105373"/>
                <a:gd name="connsiteX6" fmla="*/ 2409259 w 2502056"/>
                <a:gd name="connsiteY6" fmla="*/ 60001 h 105373"/>
                <a:gd name="connsiteX7" fmla="*/ 2409259 w 2502056"/>
                <a:gd name="connsiteY7" fmla="*/ 98816 h 105373"/>
                <a:gd name="connsiteX8" fmla="*/ 2335722 w 2502056"/>
                <a:gd name="connsiteY8" fmla="*/ 98816 h 105373"/>
                <a:gd name="connsiteX9" fmla="*/ 1558135 w 2502056"/>
                <a:gd name="connsiteY9" fmla="*/ 98816 h 105373"/>
                <a:gd name="connsiteX10" fmla="*/ 1611139 w 2502056"/>
                <a:gd name="connsiteY10" fmla="*/ 7006 h 105373"/>
                <a:gd name="connsiteX11" fmla="*/ 2282718 w 2502056"/>
                <a:gd name="connsiteY11" fmla="*/ 7006 h 105373"/>
                <a:gd name="connsiteX12" fmla="*/ 2335722 w 2502056"/>
                <a:gd name="connsiteY12" fmla="*/ 98816 h 105373"/>
                <a:gd name="connsiteX13" fmla="*/ 1538863 w 2502056"/>
                <a:gd name="connsiteY13" fmla="*/ 98816 h 105373"/>
                <a:gd name="connsiteX14" fmla="*/ 1114885 w 2502056"/>
                <a:gd name="connsiteY14" fmla="*/ 98816 h 105373"/>
                <a:gd name="connsiteX15" fmla="*/ 1026560 w 2502056"/>
                <a:gd name="connsiteY15" fmla="*/ 10491 h 105373"/>
                <a:gd name="connsiteX16" fmla="*/ 946091 w 2502056"/>
                <a:gd name="connsiteY16" fmla="*/ 10491 h 105373"/>
                <a:gd name="connsiteX17" fmla="*/ 948090 w 2502056"/>
                <a:gd name="connsiteY17" fmla="*/ 7006 h 105373"/>
                <a:gd name="connsiteX18" fmla="*/ 1591877 w 2502056"/>
                <a:gd name="connsiteY18" fmla="*/ 7006 h 105373"/>
                <a:gd name="connsiteX19" fmla="*/ 1538863 w 2502056"/>
                <a:gd name="connsiteY19" fmla="*/ 98816 h 105373"/>
                <a:gd name="connsiteX20" fmla="*/ 1107028 w 2502056"/>
                <a:gd name="connsiteY20" fmla="*/ 98816 h 105373"/>
                <a:gd name="connsiteX21" fmla="*/ 237277 w 2502056"/>
                <a:gd name="connsiteY21" fmla="*/ 98816 h 105373"/>
                <a:gd name="connsiteX22" fmla="*/ 320044 w 2502056"/>
                <a:gd name="connsiteY22" fmla="*/ 16049 h 105373"/>
                <a:gd name="connsiteX23" fmla="*/ 693335 w 2502056"/>
                <a:gd name="connsiteY23" fmla="*/ 16049 h 105373"/>
                <a:gd name="connsiteX24" fmla="*/ 817989 w 2502056"/>
                <a:gd name="connsiteY24" fmla="*/ 83701 h 105373"/>
                <a:gd name="connsiteX25" fmla="*/ 942635 w 2502056"/>
                <a:gd name="connsiteY25" fmla="*/ 16049 h 105373"/>
                <a:gd name="connsiteX26" fmla="*/ 1024262 w 2502056"/>
                <a:gd name="connsiteY26" fmla="*/ 16049 h 105373"/>
                <a:gd name="connsiteX27" fmla="*/ 1107028 w 2502056"/>
                <a:gd name="connsiteY27" fmla="*/ 98816 h 105373"/>
                <a:gd name="connsiteX28" fmla="*/ 229411 w 2502056"/>
                <a:gd name="connsiteY28" fmla="*/ 98816 h 105373"/>
                <a:gd name="connsiteX29" fmla="*/ 146140 w 2502056"/>
                <a:gd name="connsiteY29" fmla="*/ 98816 h 105373"/>
                <a:gd name="connsiteX30" fmla="*/ 237950 w 2502056"/>
                <a:gd name="connsiteY30" fmla="*/ 7006 h 105373"/>
                <a:gd name="connsiteX31" fmla="*/ 687879 w 2502056"/>
                <a:gd name="connsiteY31" fmla="*/ 7006 h 105373"/>
                <a:gd name="connsiteX32" fmla="*/ 689878 w 2502056"/>
                <a:gd name="connsiteY32" fmla="*/ 10491 h 105373"/>
                <a:gd name="connsiteX33" fmla="*/ 317736 w 2502056"/>
                <a:gd name="connsiteY33" fmla="*/ 10491 h 105373"/>
                <a:gd name="connsiteX34" fmla="*/ 229411 w 2502056"/>
                <a:gd name="connsiteY34" fmla="*/ 98816 h 105373"/>
                <a:gd name="connsiteX35" fmla="*/ 66550 w 2502056"/>
                <a:gd name="connsiteY35" fmla="*/ 98816 h 105373"/>
                <a:gd name="connsiteX36" fmla="*/ 7006 w 2502056"/>
                <a:gd name="connsiteY36" fmla="*/ 98816 h 105373"/>
                <a:gd name="connsiteX37" fmla="*/ 98816 w 2502056"/>
                <a:gd name="connsiteY37" fmla="*/ 7006 h 105373"/>
                <a:gd name="connsiteX38" fmla="*/ 158359 w 2502056"/>
                <a:gd name="connsiteY38" fmla="*/ 7006 h 105373"/>
                <a:gd name="connsiteX39" fmla="*/ 66550 w 2502056"/>
                <a:gd name="connsiteY39" fmla="*/ 98816 h 105373"/>
                <a:gd name="connsiteX40" fmla="*/ 817989 w 2502056"/>
                <a:gd name="connsiteY40" fmla="*/ 55564 h 105373"/>
                <a:gd name="connsiteX41" fmla="*/ 728786 w 2502056"/>
                <a:gd name="connsiteY41" fmla="*/ 16049 h 105373"/>
                <a:gd name="connsiteX42" fmla="*/ 907183 w 2502056"/>
                <a:gd name="connsiteY42" fmla="*/ 16049 h 105373"/>
                <a:gd name="connsiteX43" fmla="*/ 817989 w 2502056"/>
                <a:gd name="connsiteY43" fmla="*/ 55564 h 105373"/>
                <a:gd name="connsiteX44" fmla="*/ 911947 w 2502056"/>
                <a:gd name="connsiteY44" fmla="*/ 10491 h 105373"/>
                <a:gd name="connsiteX45" fmla="*/ 724022 w 2502056"/>
                <a:gd name="connsiteY45" fmla="*/ 10491 h 105373"/>
                <a:gd name="connsiteX46" fmla="*/ 721322 w 2502056"/>
                <a:gd name="connsiteY46" fmla="*/ 7006 h 105373"/>
                <a:gd name="connsiteX47" fmla="*/ 914647 w 2502056"/>
                <a:gd name="connsiteY47" fmla="*/ 7006 h 105373"/>
                <a:gd name="connsiteX48" fmla="*/ 911947 w 2502056"/>
                <a:gd name="connsiteY48" fmla="*/ 10491 h 105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502056" h="105373">
                  <a:moveTo>
                    <a:pt x="2409259" y="98816"/>
                  </a:moveTo>
                  <a:lnTo>
                    <a:pt x="2354984" y="98816"/>
                  </a:lnTo>
                  <a:lnTo>
                    <a:pt x="2301980" y="7006"/>
                  </a:lnTo>
                  <a:lnTo>
                    <a:pt x="2456341" y="7006"/>
                  </a:lnTo>
                  <a:lnTo>
                    <a:pt x="2496136" y="46792"/>
                  </a:lnTo>
                  <a:lnTo>
                    <a:pt x="2482927" y="60001"/>
                  </a:lnTo>
                  <a:lnTo>
                    <a:pt x="2409259" y="60001"/>
                  </a:lnTo>
                  <a:lnTo>
                    <a:pt x="2409259" y="98816"/>
                  </a:lnTo>
                  <a:close/>
                  <a:moveTo>
                    <a:pt x="2335722" y="98816"/>
                  </a:moveTo>
                  <a:lnTo>
                    <a:pt x="1558135" y="98816"/>
                  </a:lnTo>
                  <a:lnTo>
                    <a:pt x="1611139" y="7006"/>
                  </a:lnTo>
                  <a:lnTo>
                    <a:pt x="2282718" y="7006"/>
                  </a:lnTo>
                  <a:lnTo>
                    <a:pt x="2335722" y="98816"/>
                  </a:lnTo>
                  <a:close/>
                  <a:moveTo>
                    <a:pt x="1538863" y="98816"/>
                  </a:moveTo>
                  <a:lnTo>
                    <a:pt x="1114885" y="98816"/>
                  </a:lnTo>
                  <a:lnTo>
                    <a:pt x="1026560" y="10491"/>
                  </a:lnTo>
                  <a:lnTo>
                    <a:pt x="946091" y="10491"/>
                  </a:lnTo>
                  <a:cubicBezTo>
                    <a:pt x="946773" y="9332"/>
                    <a:pt x="947436" y="8174"/>
                    <a:pt x="948090" y="7006"/>
                  </a:cubicBezTo>
                  <a:lnTo>
                    <a:pt x="1591877" y="7006"/>
                  </a:lnTo>
                  <a:lnTo>
                    <a:pt x="1538863" y="98816"/>
                  </a:lnTo>
                  <a:close/>
                  <a:moveTo>
                    <a:pt x="1107028" y="98816"/>
                  </a:moveTo>
                  <a:lnTo>
                    <a:pt x="237277" y="98816"/>
                  </a:lnTo>
                  <a:lnTo>
                    <a:pt x="320044" y="16049"/>
                  </a:lnTo>
                  <a:lnTo>
                    <a:pt x="693335" y="16049"/>
                  </a:lnTo>
                  <a:cubicBezTo>
                    <a:pt x="719912" y="56750"/>
                    <a:pt x="765863" y="83701"/>
                    <a:pt x="817989" y="83701"/>
                  </a:cubicBezTo>
                  <a:cubicBezTo>
                    <a:pt x="870106" y="83701"/>
                    <a:pt x="916067" y="56750"/>
                    <a:pt x="942635" y="16049"/>
                  </a:cubicBezTo>
                  <a:lnTo>
                    <a:pt x="1024262" y="16049"/>
                  </a:lnTo>
                  <a:lnTo>
                    <a:pt x="1107028" y="98816"/>
                  </a:lnTo>
                  <a:close/>
                  <a:moveTo>
                    <a:pt x="229411" y="98816"/>
                  </a:moveTo>
                  <a:lnTo>
                    <a:pt x="146140" y="98816"/>
                  </a:lnTo>
                  <a:lnTo>
                    <a:pt x="237950" y="7006"/>
                  </a:lnTo>
                  <a:lnTo>
                    <a:pt x="687879" y="7006"/>
                  </a:lnTo>
                  <a:cubicBezTo>
                    <a:pt x="688533" y="8174"/>
                    <a:pt x="689196" y="9332"/>
                    <a:pt x="689878" y="10491"/>
                  </a:cubicBezTo>
                  <a:lnTo>
                    <a:pt x="317736" y="10491"/>
                  </a:lnTo>
                  <a:lnTo>
                    <a:pt x="229411" y="98816"/>
                  </a:lnTo>
                  <a:close/>
                  <a:moveTo>
                    <a:pt x="66550" y="98816"/>
                  </a:moveTo>
                  <a:lnTo>
                    <a:pt x="7006" y="98816"/>
                  </a:lnTo>
                  <a:lnTo>
                    <a:pt x="98816" y="7006"/>
                  </a:lnTo>
                  <a:lnTo>
                    <a:pt x="158359" y="7006"/>
                  </a:lnTo>
                  <a:lnTo>
                    <a:pt x="66550" y="98816"/>
                  </a:lnTo>
                  <a:close/>
                  <a:moveTo>
                    <a:pt x="817989" y="55564"/>
                  </a:moveTo>
                  <a:cubicBezTo>
                    <a:pt x="782678" y="55564"/>
                    <a:pt x="750861" y="40309"/>
                    <a:pt x="728786" y="16049"/>
                  </a:cubicBezTo>
                  <a:lnTo>
                    <a:pt x="907183" y="16049"/>
                  </a:lnTo>
                  <a:cubicBezTo>
                    <a:pt x="885109" y="40309"/>
                    <a:pt x="853291" y="55564"/>
                    <a:pt x="817989" y="55564"/>
                  </a:cubicBezTo>
                  <a:close/>
                  <a:moveTo>
                    <a:pt x="911947" y="10491"/>
                  </a:moveTo>
                  <a:lnTo>
                    <a:pt x="724022" y="10491"/>
                  </a:lnTo>
                  <a:cubicBezTo>
                    <a:pt x="723097" y="9342"/>
                    <a:pt x="722200" y="8183"/>
                    <a:pt x="721322" y="7006"/>
                  </a:cubicBezTo>
                  <a:lnTo>
                    <a:pt x="914647" y="7006"/>
                  </a:lnTo>
                  <a:cubicBezTo>
                    <a:pt x="913769" y="8183"/>
                    <a:pt x="912872" y="9342"/>
                    <a:pt x="911947" y="10491"/>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3" name="Freeform: Shape 13422">
              <a:extLst>
                <a:ext uri="{FF2B5EF4-FFF2-40B4-BE49-F238E27FC236}">
                  <a16:creationId xmlns:a16="http://schemas.microsoft.com/office/drawing/2014/main" id="{F381DAF0-C860-46C9-BDFB-B78EC0138658}"/>
                </a:ext>
              </a:extLst>
            </p:cNvPr>
            <p:cNvSpPr/>
            <p:nvPr/>
          </p:nvSpPr>
          <p:spPr bwMode="ltGray">
            <a:xfrm>
              <a:off x="1861829" y="2822419"/>
              <a:ext cx="829535" cy="105373"/>
            </a:xfrm>
            <a:custGeom>
              <a:avLst/>
              <a:gdLst>
                <a:gd name="connsiteX0" fmla="*/ 823127 w 829534"/>
                <a:gd name="connsiteY0" fmla="*/ 98816 h 105373"/>
                <a:gd name="connsiteX1" fmla="*/ 803865 w 829534"/>
                <a:gd name="connsiteY1" fmla="*/ 98816 h 105373"/>
                <a:gd name="connsiteX2" fmla="*/ 750861 w 829534"/>
                <a:gd name="connsiteY2" fmla="*/ 7006 h 105373"/>
                <a:gd name="connsiteX3" fmla="*/ 770123 w 829534"/>
                <a:gd name="connsiteY3" fmla="*/ 7006 h 105373"/>
                <a:gd name="connsiteX4" fmla="*/ 823127 w 829534"/>
                <a:gd name="connsiteY4" fmla="*/ 98816 h 105373"/>
                <a:gd name="connsiteX5" fmla="*/ 26278 w 829534"/>
                <a:gd name="connsiteY5" fmla="*/ 98816 h 105373"/>
                <a:gd name="connsiteX6" fmla="*/ 7006 w 829534"/>
                <a:gd name="connsiteY6" fmla="*/ 98816 h 105373"/>
                <a:gd name="connsiteX7" fmla="*/ 60020 w 829534"/>
                <a:gd name="connsiteY7" fmla="*/ 7006 h 105373"/>
                <a:gd name="connsiteX8" fmla="*/ 79282 w 829534"/>
                <a:gd name="connsiteY8" fmla="*/ 7006 h 105373"/>
                <a:gd name="connsiteX9" fmla="*/ 26278 w 829534"/>
                <a:gd name="connsiteY9" fmla="*/ 98816 h 105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9534" h="105373">
                  <a:moveTo>
                    <a:pt x="823127" y="98816"/>
                  </a:moveTo>
                  <a:lnTo>
                    <a:pt x="803865" y="98816"/>
                  </a:lnTo>
                  <a:lnTo>
                    <a:pt x="750861" y="7006"/>
                  </a:lnTo>
                  <a:lnTo>
                    <a:pt x="770123" y="7006"/>
                  </a:lnTo>
                  <a:lnTo>
                    <a:pt x="823127" y="98816"/>
                  </a:lnTo>
                  <a:close/>
                  <a:moveTo>
                    <a:pt x="26278" y="98816"/>
                  </a:moveTo>
                  <a:lnTo>
                    <a:pt x="7006" y="98816"/>
                  </a:lnTo>
                  <a:lnTo>
                    <a:pt x="60020" y="7006"/>
                  </a:lnTo>
                  <a:lnTo>
                    <a:pt x="79282" y="7006"/>
                  </a:lnTo>
                  <a:lnTo>
                    <a:pt x="26278" y="9881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4" name="Freeform: Shape 13423">
              <a:extLst>
                <a:ext uri="{FF2B5EF4-FFF2-40B4-BE49-F238E27FC236}">
                  <a16:creationId xmlns:a16="http://schemas.microsoft.com/office/drawing/2014/main" id="{015711B7-9750-4D0A-A334-AEE0894F2B4B}"/>
                </a:ext>
              </a:extLst>
            </p:cNvPr>
            <p:cNvSpPr/>
            <p:nvPr/>
          </p:nvSpPr>
          <p:spPr bwMode="ltGray">
            <a:xfrm>
              <a:off x="552377" y="2825904"/>
              <a:ext cx="899037" cy="100889"/>
            </a:xfrm>
            <a:custGeom>
              <a:avLst/>
              <a:gdLst>
                <a:gd name="connsiteX0" fmla="*/ 892479 w 899036"/>
                <a:gd name="connsiteY0" fmla="*/ 95331 h 100889"/>
                <a:gd name="connsiteX1" fmla="*/ 884623 w 899036"/>
                <a:gd name="connsiteY1" fmla="*/ 95331 h 100889"/>
                <a:gd name="connsiteX2" fmla="*/ 801856 w 899036"/>
                <a:gd name="connsiteY2" fmla="*/ 12564 h 100889"/>
                <a:gd name="connsiteX3" fmla="*/ 720229 w 899036"/>
                <a:gd name="connsiteY3" fmla="*/ 12564 h 100889"/>
                <a:gd name="connsiteX4" fmla="*/ 723686 w 899036"/>
                <a:gd name="connsiteY4" fmla="*/ 7006 h 100889"/>
                <a:gd name="connsiteX5" fmla="*/ 804154 w 899036"/>
                <a:gd name="connsiteY5" fmla="*/ 7006 h 100889"/>
                <a:gd name="connsiteX6" fmla="*/ 892479 w 899036"/>
                <a:gd name="connsiteY6" fmla="*/ 95331 h 100889"/>
                <a:gd name="connsiteX7" fmla="*/ 14872 w 899036"/>
                <a:gd name="connsiteY7" fmla="*/ 95331 h 100889"/>
                <a:gd name="connsiteX8" fmla="*/ 7006 w 899036"/>
                <a:gd name="connsiteY8" fmla="*/ 95331 h 100889"/>
                <a:gd name="connsiteX9" fmla="*/ 95331 w 899036"/>
                <a:gd name="connsiteY9" fmla="*/ 7006 h 100889"/>
                <a:gd name="connsiteX10" fmla="*/ 467473 w 899036"/>
                <a:gd name="connsiteY10" fmla="*/ 7006 h 100889"/>
                <a:gd name="connsiteX11" fmla="*/ 470930 w 899036"/>
                <a:gd name="connsiteY11" fmla="*/ 12564 h 100889"/>
                <a:gd name="connsiteX12" fmla="*/ 97639 w 899036"/>
                <a:gd name="connsiteY12" fmla="*/ 12564 h 100889"/>
                <a:gd name="connsiteX13" fmla="*/ 14872 w 899036"/>
                <a:gd name="connsiteY13" fmla="*/ 95331 h 100889"/>
                <a:gd name="connsiteX14" fmla="*/ 684778 w 899036"/>
                <a:gd name="connsiteY14" fmla="*/ 12564 h 100889"/>
                <a:gd name="connsiteX15" fmla="*/ 506381 w 899036"/>
                <a:gd name="connsiteY15" fmla="*/ 12564 h 100889"/>
                <a:gd name="connsiteX16" fmla="*/ 501617 w 899036"/>
                <a:gd name="connsiteY16" fmla="*/ 7006 h 100889"/>
                <a:gd name="connsiteX17" fmla="*/ 689542 w 899036"/>
                <a:gd name="connsiteY17" fmla="*/ 7006 h 100889"/>
                <a:gd name="connsiteX18" fmla="*/ 684778 w 899036"/>
                <a:gd name="connsiteY18" fmla="*/ 12564 h 100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9036" h="100889">
                  <a:moveTo>
                    <a:pt x="892479" y="95331"/>
                  </a:moveTo>
                  <a:lnTo>
                    <a:pt x="884623" y="95331"/>
                  </a:lnTo>
                  <a:lnTo>
                    <a:pt x="801856" y="12564"/>
                  </a:lnTo>
                  <a:lnTo>
                    <a:pt x="720229" y="12564"/>
                  </a:lnTo>
                  <a:cubicBezTo>
                    <a:pt x="721416" y="10743"/>
                    <a:pt x="722574" y="8884"/>
                    <a:pt x="723686" y="7006"/>
                  </a:cubicBezTo>
                  <a:lnTo>
                    <a:pt x="804154" y="7006"/>
                  </a:lnTo>
                  <a:lnTo>
                    <a:pt x="892479" y="95331"/>
                  </a:lnTo>
                  <a:close/>
                  <a:moveTo>
                    <a:pt x="14872" y="95331"/>
                  </a:moveTo>
                  <a:lnTo>
                    <a:pt x="7006" y="95331"/>
                  </a:lnTo>
                  <a:lnTo>
                    <a:pt x="95331" y="7006"/>
                  </a:lnTo>
                  <a:lnTo>
                    <a:pt x="467473" y="7006"/>
                  </a:lnTo>
                  <a:cubicBezTo>
                    <a:pt x="468585" y="8884"/>
                    <a:pt x="469743" y="10743"/>
                    <a:pt x="470930" y="12564"/>
                  </a:cubicBezTo>
                  <a:lnTo>
                    <a:pt x="97639" y="12564"/>
                  </a:lnTo>
                  <a:lnTo>
                    <a:pt x="14872" y="95331"/>
                  </a:lnTo>
                  <a:close/>
                  <a:moveTo>
                    <a:pt x="684778" y="12564"/>
                  </a:moveTo>
                  <a:lnTo>
                    <a:pt x="506381" y="12564"/>
                  </a:lnTo>
                  <a:cubicBezTo>
                    <a:pt x="504737" y="10762"/>
                    <a:pt x="503149" y="8903"/>
                    <a:pt x="501617" y="7006"/>
                  </a:cubicBezTo>
                  <a:lnTo>
                    <a:pt x="689542" y="7006"/>
                  </a:lnTo>
                  <a:cubicBezTo>
                    <a:pt x="688010" y="8903"/>
                    <a:pt x="686422" y="10762"/>
                    <a:pt x="684778" y="12564"/>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5" name="Freeform: Shape 13424">
              <a:extLst>
                <a:ext uri="{FF2B5EF4-FFF2-40B4-BE49-F238E27FC236}">
                  <a16:creationId xmlns:a16="http://schemas.microsoft.com/office/drawing/2014/main" id="{842C9DA5-4ADE-404E-AE4A-7590F489A4A1}"/>
                </a:ext>
              </a:extLst>
            </p:cNvPr>
            <p:cNvSpPr/>
            <p:nvPr/>
          </p:nvSpPr>
          <p:spPr bwMode="ltGray">
            <a:xfrm>
              <a:off x="2732225" y="2875414"/>
              <a:ext cx="87437" cy="65018"/>
            </a:xfrm>
            <a:custGeom>
              <a:avLst/>
              <a:gdLst>
                <a:gd name="connsiteX0" fmla="*/ 28959 w 87437"/>
                <a:gd name="connsiteY0" fmla="*/ 58712 h 65017"/>
                <a:gd name="connsiteX1" fmla="*/ 16068 w 87437"/>
                <a:gd name="connsiteY1" fmla="*/ 45821 h 65017"/>
                <a:gd name="connsiteX2" fmla="*/ 7006 w 87437"/>
                <a:gd name="connsiteY2" fmla="*/ 45821 h 65017"/>
                <a:gd name="connsiteX3" fmla="*/ 7006 w 87437"/>
                <a:gd name="connsiteY3" fmla="*/ 7006 h 65017"/>
                <a:gd name="connsiteX4" fmla="*/ 80674 w 87437"/>
                <a:gd name="connsiteY4" fmla="*/ 7006 h 65017"/>
                <a:gd name="connsiteX5" fmla="*/ 28959 w 87437"/>
                <a:gd name="connsiteY5" fmla="*/ 58712 h 65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437" h="65017">
                  <a:moveTo>
                    <a:pt x="28959" y="58712"/>
                  </a:moveTo>
                  <a:lnTo>
                    <a:pt x="16068" y="45821"/>
                  </a:lnTo>
                  <a:lnTo>
                    <a:pt x="7006" y="45821"/>
                  </a:lnTo>
                  <a:lnTo>
                    <a:pt x="7006" y="7006"/>
                  </a:lnTo>
                  <a:lnTo>
                    <a:pt x="80674" y="7006"/>
                  </a:lnTo>
                  <a:lnTo>
                    <a:pt x="28959" y="5871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6" name="Freeform: Shape 13425">
              <a:extLst>
                <a:ext uri="{FF2B5EF4-FFF2-40B4-BE49-F238E27FC236}">
                  <a16:creationId xmlns:a16="http://schemas.microsoft.com/office/drawing/2014/main" id="{8EA0C610-253C-4114-974A-E9DFDA1C3592}"/>
                </a:ext>
              </a:extLst>
            </p:cNvPr>
            <p:cNvSpPr/>
            <p:nvPr/>
          </p:nvSpPr>
          <p:spPr bwMode="ltGray">
            <a:xfrm>
              <a:off x="1010845" y="2822419"/>
              <a:ext cx="273522" cy="89679"/>
            </a:xfrm>
            <a:custGeom>
              <a:avLst/>
              <a:gdLst>
                <a:gd name="connsiteX0" fmla="*/ 137116 w 273522"/>
                <a:gd name="connsiteY0" fmla="*/ 83701 h 89679"/>
                <a:gd name="connsiteX1" fmla="*/ 12462 w 273522"/>
                <a:gd name="connsiteY1" fmla="*/ 16049 h 89679"/>
                <a:gd name="connsiteX2" fmla="*/ 9005 w 273522"/>
                <a:gd name="connsiteY2" fmla="*/ 10491 h 89679"/>
                <a:gd name="connsiteX3" fmla="*/ 7006 w 273522"/>
                <a:gd name="connsiteY3" fmla="*/ 7006 h 89679"/>
                <a:gd name="connsiteX4" fmla="*/ 40449 w 273522"/>
                <a:gd name="connsiteY4" fmla="*/ 7006 h 89679"/>
                <a:gd name="connsiteX5" fmla="*/ 43149 w 273522"/>
                <a:gd name="connsiteY5" fmla="*/ 10491 h 89679"/>
                <a:gd name="connsiteX6" fmla="*/ 47913 w 273522"/>
                <a:gd name="connsiteY6" fmla="*/ 16049 h 89679"/>
                <a:gd name="connsiteX7" fmla="*/ 137116 w 273522"/>
                <a:gd name="connsiteY7" fmla="*/ 55564 h 89679"/>
                <a:gd name="connsiteX8" fmla="*/ 226310 w 273522"/>
                <a:gd name="connsiteY8" fmla="*/ 16049 h 89679"/>
                <a:gd name="connsiteX9" fmla="*/ 231074 w 273522"/>
                <a:gd name="connsiteY9" fmla="*/ 10491 h 89679"/>
                <a:gd name="connsiteX10" fmla="*/ 233774 w 273522"/>
                <a:gd name="connsiteY10" fmla="*/ 7006 h 89679"/>
                <a:gd name="connsiteX11" fmla="*/ 267217 w 273522"/>
                <a:gd name="connsiteY11" fmla="*/ 7006 h 89679"/>
                <a:gd name="connsiteX12" fmla="*/ 265218 w 273522"/>
                <a:gd name="connsiteY12" fmla="*/ 10491 h 89679"/>
                <a:gd name="connsiteX13" fmla="*/ 261761 w 273522"/>
                <a:gd name="connsiteY13" fmla="*/ 16049 h 89679"/>
                <a:gd name="connsiteX14" fmla="*/ 137116 w 273522"/>
                <a:gd name="connsiteY14" fmla="*/ 83701 h 89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3522" h="89679">
                  <a:moveTo>
                    <a:pt x="137116" y="83701"/>
                  </a:moveTo>
                  <a:cubicBezTo>
                    <a:pt x="84990" y="83701"/>
                    <a:pt x="39039" y="56750"/>
                    <a:pt x="12462" y="16049"/>
                  </a:cubicBezTo>
                  <a:cubicBezTo>
                    <a:pt x="11275" y="14227"/>
                    <a:pt x="10117" y="12368"/>
                    <a:pt x="9005" y="10491"/>
                  </a:cubicBezTo>
                  <a:cubicBezTo>
                    <a:pt x="8323" y="9332"/>
                    <a:pt x="7660" y="8174"/>
                    <a:pt x="7006" y="7006"/>
                  </a:cubicBezTo>
                  <a:lnTo>
                    <a:pt x="40449" y="7006"/>
                  </a:lnTo>
                  <a:cubicBezTo>
                    <a:pt x="41327" y="8183"/>
                    <a:pt x="42224" y="9342"/>
                    <a:pt x="43149" y="10491"/>
                  </a:cubicBezTo>
                  <a:cubicBezTo>
                    <a:pt x="44681" y="12387"/>
                    <a:pt x="46269" y="14246"/>
                    <a:pt x="47913" y="16049"/>
                  </a:cubicBezTo>
                  <a:cubicBezTo>
                    <a:pt x="69987" y="40309"/>
                    <a:pt x="101805" y="55564"/>
                    <a:pt x="137116" y="55564"/>
                  </a:cubicBezTo>
                  <a:cubicBezTo>
                    <a:pt x="172418" y="55564"/>
                    <a:pt x="204236" y="40309"/>
                    <a:pt x="226310" y="16049"/>
                  </a:cubicBezTo>
                  <a:cubicBezTo>
                    <a:pt x="227954" y="14246"/>
                    <a:pt x="229542" y="12387"/>
                    <a:pt x="231074" y="10491"/>
                  </a:cubicBezTo>
                  <a:cubicBezTo>
                    <a:pt x="231999" y="9342"/>
                    <a:pt x="232896" y="8183"/>
                    <a:pt x="233774" y="7006"/>
                  </a:cubicBezTo>
                  <a:lnTo>
                    <a:pt x="267217" y="7006"/>
                  </a:lnTo>
                  <a:cubicBezTo>
                    <a:pt x="266563" y="8174"/>
                    <a:pt x="265900" y="9332"/>
                    <a:pt x="265218" y="10491"/>
                  </a:cubicBezTo>
                  <a:cubicBezTo>
                    <a:pt x="264106" y="12368"/>
                    <a:pt x="262948" y="14227"/>
                    <a:pt x="261761" y="16049"/>
                  </a:cubicBezTo>
                  <a:cubicBezTo>
                    <a:pt x="235194" y="56750"/>
                    <a:pt x="189233" y="83701"/>
                    <a:pt x="137116" y="83701"/>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7" name="Freeform: Shape 13426">
              <a:extLst>
                <a:ext uri="{FF2B5EF4-FFF2-40B4-BE49-F238E27FC236}">
                  <a16:creationId xmlns:a16="http://schemas.microsoft.com/office/drawing/2014/main" id="{A629BBC6-A7FF-41DA-8EAB-291D1BE242AB}"/>
                </a:ext>
              </a:extLst>
            </p:cNvPr>
            <p:cNvSpPr/>
            <p:nvPr/>
          </p:nvSpPr>
          <p:spPr bwMode="ltGray">
            <a:xfrm>
              <a:off x="389516" y="2822419"/>
              <a:ext cx="183843" cy="105373"/>
            </a:xfrm>
            <a:custGeom>
              <a:avLst/>
              <a:gdLst>
                <a:gd name="connsiteX0" fmla="*/ 86597 w 183842"/>
                <a:gd name="connsiteY0" fmla="*/ 98816 h 105373"/>
                <a:gd name="connsiteX1" fmla="*/ 7006 w 183842"/>
                <a:gd name="connsiteY1" fmla="*/ 98816 h 105373"/>
                <a:gd name="connsiteX2" fmla="*/ 98816 w 183842"/>
                <a:gd name="connsiteY2" fmla="*/ 7006 h 105373"/>
                <a:gd name="connsiteX3" fmla="*/ 178406 w 183842"/>
                <a:gd name="connsiteY3" fmla="*/ 7006 h 105373"/>
                <a:gd name="connsiteX4" fmla="*/ 86597 w 183842"/>
                <a:gd name="connsiteY4" fmla="*/ 98816 h 105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842" h="105373">
                  <a:moveTo>
                    <a:pt x="86597" y="98816"/>
                  </a:moveTo>
                  <a:lnTo>
                    <a:pt x="7006" y="98816"/>
                  </a:lnTo>
                  <a:lnTo>
                    <a:pt x="98816" y="7006"/>
                  </a:lnTo>
                  <a:lnTo>
                    <a:pt x="178406" y="7006"/>
                  </a:lnTo>
                  <a:lnTo>
                    <a:pt x="86597" y="9881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8" name="Freeform: Shape 13427">
              <a:extLst>
                <a:ext uri="{FF2B5EF4-FFF2-40B4-BE49-F238E27FC236}">
                  <a16:creationId xmlns:a16="http://schemas.microsoft.com/office/drawing/2014/main" id="{E1EEC5F3-9320-4962-8036-BF13E099F949}"/>
                </a:ext>
              </a:extLst>
            </p:cNvPr>
            <p:cNvSpPr/>
            <p:nvPr/>
          </p:nvSpPr>
          <p:spPr bwMode="ltGray">
            <a:xfrm>
              <a:off x="-2860" y="2822419"/>
              <a:ext cx="430461" cy="98647"/>
            </a:xfrm>
            <a:custGeom>
              <a:avLst/>
              <a:gdLst>
                <a:gd name="connsiteX0" fmla="*/ 337064 w 430461"/>
                <a:gd name="connsiteY0" fmla="*/ 93631 h 98647"/>
                <a:gd name="connsiteX1" fmla="*/ 7006 w 430461"/>
                <a:gd name="connsiteY1" fmla="*/ 93631 h 98647"/>
                <a:gd name="connsiteX2" fmla="*/ 7006 w 430461"/>
                <a:gd name="connsiteY2" fmla="*/ 7006 h 98647"/>
                <a:gd name="connsiteX3" fmla="*/ 423689 w 430461"/>
                <a:gd name="connsiteY3" fmla="*/ 7006 h 98647"/>
                <a:gd name="connsiteX4" fmla="*/ 337064 w 430461"/>
                <a:gd name="connsiteY4" fmla="*/ 93631 h 98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461" h="98647">
                  <a:moveTo>
                    <a:pt x="337064" y="93631"/>
                  </a:moveTo>
                  <a:lnTo>
                    <a:pt x="7006" y="93631"/>
                  </a:lnTo>
                  <a:lnTo>
                    <a:pt x="7006" y="7006"/>
                  </a:lnTo>
                  <a:lnTo>
                    <a:pt x="423689" y="7006"/>
                  </a:lnTo>
                  <a:lnTo>
                    <a:pt x="337064" y="93631"/>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29" name="Freeform: Shape 13428">
              <a:extLst>
                <a:ext uri="{FF2B5EF4-FFF2-40B4-BE49-F238E27FC236}">
                  <a16:creationId xmlns:a16="http://schemas.microsoft.com/office/drawing/2014/main" id="{0434EFB1-C409-4352-824B-0B2E44CF563F}"/>
                </a:ext>
              </a:extLst>
            </p:cNvPr>
            <p:cNvSpPr/>
            <p:nvPr/>
          </p:nvSpPr>
          <p:spPr bwMode="ltGray">
            <a:xfrm>
              <a:off x="-2860" y="2822419"/>
              <a:ext cx="437187" cy="105373"/>
            </a:xfrm>
            <a:custGeom>
              <a:avLst/>
              <a:gdLst>
                <a:gd name="connsiteX0" fmla="*/ 339839 w 437187"/>
                <a:gd name="connsiteY0" fmla="*/ 98816 h 105373"/>
                <a:gd name="connsiteX1" fmla="*/ 7006 w 437187"/>
                <a:gd name="connsiteY1" fmla="*/ 98816 h 105373"/>
                <a:gd name="connsiteX2" fmla="*/ 7006 w 437187"/>
                <a:gd name="connsiteY2" fmla="*/ 93631 h 105373"/>
                <a:gd name="connsiteX3" fmla="*/ 337064 w 437187"/>
                <a:gd name="connsiteY3" fmla="*/ 93631 h 105373"/>
                <a:gd name="connsiteX4" fmla="*/ 423689 w 437187"/>
                <a:gd name="connsiteY4" fmla="*/ 7006 h 105373"/>
                <a:gd name="connsiteX5" fmla="*/ 431648 w 437187"/>
                <a:gd name="connsiteY5" fmla="*/ 7006 h 105373"/>
                <a:gd name="connsiteX6" fmla="*/ 339839 w 437187"/>
                <a:gd name="connsiteY6" fmla="*/ 98816 h 105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7187" h="105373">
                  <a:moveTo>
                    <a:pt x="339839" y="98816"/>
                  </a:moveTo>
                  <a:lnTo>
                    <a:pt x="7006" y="98816"/>
                  </a:lnTo>
                  <a:lnTo>
                    <a:pt x="7006" y="93631"/>
                  </a:lnTo>
                  <a:lnTo>
                    <a:pt x="337064" y="93631"/>
                  </a:lnTo>
                  <a:lnTo>
                    <a:pt x="423689" y="7006"/>
                  </a:lnTo>
                  <a:lnTo>
                    <a:pt x="431648" y="7006"/>
                  </a:lnTo>
                  <a:lnTo>
                    <a:pt x="339839" y="9881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0" name="Freeform: Shape 13429">
              <a:extLst>
                <a:ext uri="{FF2B5EF4-FFF2-40B4-BE49-F238E27FC236}">
                  <a16:creationId xmlns:a16="http://schemas.microsoft.com/office/drawing/2014/main" id="{E858AA16-0AEC-4059-BCBB-45C14BBA2C3C}"/>
                </a:ext>
              </a:extLst>
            </p:cNvPr>
            <p:cNvSpPr/>
            <p:nvPr/>
          </p:nvSpPr>
          <p:spPr bwMode="ltGray">
            <a:xfrm>
              <a:off x="5176487" y="3093280"/>
              <a:ext cx="3035649" cy="105373"/>
            </a:xfrm>
            <a:custGeom>
              <a:avLst/>
              <a:gdLst>
                <a:gd name="connsiteX0" fmla="*/ 7006 w 3035649"/>
                <a:gd name="connsiteY0" fmla="*/ 7006 h 105373"/>
                <a:gd name="connsiteX1" fmla="*/ 3029085 w 3035649"/>
                <a:gd name="connsiteY1" fmla="*/ 7006 h 105373"/>
                <a:gd name="connsiteX2" fmla="*/ 3029085 w 3035649"/>
                <a:gd name="connsiteY2" fmla="*/ 98816 h 105373"/>
                <a:gd name="connsiteX3" fmla="*/ 7006 w 3035649"/>
                <a:gd name="connsiteY3" fmla="*/ 98816 h 105373"/>
              </a:gdLst>
              <a:ahLst/>
              <a:cxnLst>
                <a:cxn ang="0">
                  <a:pos x="connsiteX0" y="connsiteY0"/>
                </a:cxn>
                <a:cxn ang="0">
                  <a:pos x="connsiteX1" y="connsiteY1"/>
                </a:cxn>
                <a:cxn ang="0">
                  <a:pos x="connsiteX2" y="connsiteY2"/>
                </a:cxn>
                <a:cxn ang="0">
                  <a:pos x="connsiteX3" y="connsiteY3"/>
                </a:cxn>
              </a:cxnLst>
              <a:rect l="l" t="t" r="r" b="b"/>
              <a:pathLst>
                <a:path w="3035649" h="105373">
                  <a:moveTo>
                    <a:pt x="7006" y="7006"/>
                  </a:moveTo>
                  <a:lnTo>
                    <a:pt x="3029085" y="7006"/>
                  </a:lnTo>
                  <a:lnTo>
                    <a:pt x="3029085" y="98816"/>
                  </a:lnTo>
                  <a:lnTo>
                    <a:pt x="7006" y="98816"/>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1" name="Freeform: Shape 13430">
              <a:extLst>
                <a:ext uri="{FF2B5EF4-FFF2-40B4-BE49-F238E27FC236}">
                  <a16:creationId xmlns:a16="http://schemas.microsoft.com/office/drawing/2014/main" id="{98BF47D0-78A9-4228-AAD8-405E17EC5DA7}"/>
                </a:ext>
              </a:extLst>
            </p:cNvPr>
            <p:cNvSpPr/>
            <p:nvPr/>
          </p:nvSpPr>
          <p:spPr bwMode="ltGray">
            <a:xfrm>
              <a:off x="4228472" y="3941069"/>
              <a:ext cx="2333908" cy="1553697"/>
            </a:xfrm>
            <a:custGeom>
              <a:avLst/>
              <a:gdLst>
                <a:gd name="connsiteX0" fmla="*/ 2311733 w 2333907"/>
                <a:gd name="connsiteY0" fmla="*/ 1548355 h 1553696"/>
                <a:gd name="connsiteX1" fmla="*/ 1382541 w 2333907"/>
                <a:gd name="connsiteY1" fmla="*/ 619172 h 1553696"/>
                <a:gd name="connsiteX2" fmla="*/ 619162 w 2333907"/>
                <a:gd name="connsiteY2" fmla="*/ 619172 h 1553696"/>
                <a:gd name="connsiteX3" fmla="*/ 173091 w 2333907"/>
                <a:gd name="connsiteY3" fmla="*/ 173100 h 1553696"/>
                <a:gd name="connsiteX4" fmla="*/ 205544 w 2333907"/>
                <a:gd name="connsiteY4" fmla="*/ 173100 h 1553696"/>
                <a:gd name="connsiteX5" fmla="*/ 628663 w 2333907"/>
                <a:gd name="connsiteY5" fmla="*/ 596210 h 1553696"/>
                <a:gd name="connsiteX6" fmla="*/ 1392041 w 2333907"/>
                <a:gd name="connsiteY6" fmla="*/ 596210 h 1553696"/>
                <a:gd name="connsiteX7" fmla="*/ 2327950 w 2333907"/>
                <a:gd name="connsiteY7" fmla="*/ 1532128 h 1553696"/>
                <a:gd name="connsiteX8" fmla="*/ 2311733 w 2333907"/>
                <a:gd name="connsiteY8" fmla="*/ 1548355 h 1553696"/>
                <a:gd name="connsiteX9" fmla="*/ 194287 w 2333907"/>
                <a:gd name="connsiteY9" fmla="*/ 161834 h 1553696"/>
                <a:gd name="connsiteX10" fmla="*/ 161834 w 2333907"/>
                <a:gd name="connsiteY10" fmla="*/ 161834 h 1553696"/>
                <a:gd name="connsiteX11" fmla="*/ 112146 w 2333907"/>
                <a:gd name="connsiteY11" fmla="*/ 112156 h 1553696"/>
                <a:gd name="connsiteX12" fmla="*/ 54770 w 2333907"/>
                <a:gd name="connsiteY12" fmla="*/ 54770 h 1553696"/>
                <a:gd name="connsiteX13" fmla="*/ 7006 w 2333907"/>
                <a:gd name="connsiteY13" fmla="*/ 7006 h 1553696"/>
                <a:gd name="connsiteX14" fmla="*/ 39459 w 2333907"/>
                <a:gd name="connsiteY14" fmla="*/ 7006 h 1553696"/>
                <a:gd name="connsiteX15" fmla="*/ 194287 w 2333907"/>
                <a:gd name="connsiteY15" fmla="*/ 161834 h 1553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33907" h="1553696">
                  <a:moveTo>
                    <a:pt x="2311733" y="1548355"/>
                  </a:moveTo>
                  <a:lnTo>
                    <a:pt x="1382541" y="619172"/>
                  </a:lnTo>
                  <a:lnTo>
                    <a:pt x="619162" y="619172"/>
                  </a:lnTo>
                  <a:lnTo>
                    <a:pt x="173091" y="173100"/>
                  </a:lnTo>
                  <a:lnTo>
                    <a:pt x="205544" y="173100"/>
                  </a:lnTo>
                  <a:lnTo>
                    <a:pt x="628663" y="596210"/>
                  </a:lnTo>
                  <a:lnTo>
                    <a:pt x="1392041" y="596210"/>
                  </a:lnTo>
                  <a:lnTo>
                    <a:pt x="2327950" y="1532128"/>
                  </a:lnTo>
                  <a:lnTo>
                    <a:pt x="2311733" y="1548355"/>
                  </a:lnTo>
                  <a:close/>
                  <a:moveTo>
                    <a:pt x="194287" y="161834"/>
                  </a:moveTo>
                  <a:lnTo>
                    <a:pt x="161834" y="161834"/>
                  </a:lnTo>
                  <a:lnTo>
                    <a:pt x="112146" y="112156"/>
                  </a:lnTo>
                  <a:lnTo>
                    <a:pt x="54770" y="54770"/>
                  </a:lnTo>
                  <a:lnTo>
                    <a:pt x="7006" y="7006"/>
                  </a:lnTo>
                  <a:lnTo>
                    <a:pt x="39459" y="7006"/>
                  </a:lnTo>
                  <a:lnTo>
                    <a:pt x="194287" y="161834"/>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2" name="Freeform: Shape 13431">
              <a:extLst>
                <a:ext uri="{FF2B5EF4-FFF2-40B4-BE49-F238E27FC236}">
                  <a16:creationId xmlns:a16="http://schemas.microsoft.com/office/drawing/2014/main" id="{DDB02971-4285-4C8A-AC60-DA9306DC363E}"/>
                </a:ext>
              </a:extLst>
            </p:cNvPr>
            <p:cNvSpPr/>
            <p:nvPr/>
          </p:nvSpPr>
          <p:spPr bwMode="ltGray">
            <a:xfrm>
              <a:off x="4383300" y="4095897"/>
              <a:ext cx="56050" cy="24662"/>
            </a:xfrm>
            <a:custGeom>
              <a:avLst/>
              <a:gdLst>
                <a:gd name="connsiteX0" fmla="*/ 50716 w 56049"/>
                <a:gd name="connsiteY0" fmla="*/ 18272 h 24661"/>
                <a:gd name="connsiteX1" fmla="*/ 18263 w 56049"/>
                <a:gd name="connsiteY1" fmla="*/ 18272 h 24661"/>
                <a:gd name="connsiteX2" fmla="*/ 7006 w 56049"/>
                <a:gd name="connsiteY2" fmla="*/ 7006 h 24661"/>
                <a:gd name="connsiteX3" fmla="*/ 39459 w 56049"/>
                <a:gd name="connsiteY3" fmla="*/ 7006 h 24661"/>
                <a:gd name="connsiteX4" fmla="*/ 50716 w 56049"/>
                <a:gd name="connsiteY4" fmla="*/ 18272 h 24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49" h="24661">
                  <a:moveTo>
                    <a:pt x="50716" y="18272"/>
                  </a:moveTo>
                  <a:lnTo>
                    <a:pt x="18263" y="18272"/>
                  </a:lnTo>
                  <a:lnTo>
                    <a:pt x="7006" y="7006"/>
                  </a:lnTo>
                  <a:lnTo>
                    <a:pt x="39459" y="7006"/>
                  </a:lnTo>
                  <a:lnTo>
                    <a:pt x="50716" y="1827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3" name="Freeform: Shape 13432">
              <a:extLst>
                <a:ext uri="{FF2B5EF4-FFF2-40B4-BE49-F238E27FC236}">
                  <a16:creationId xmlns:a16="http://schemas.microsoft.com/office/drawing/2014/main" id="{1207B51F-7D49-4C37-A039-8F44B56599FF}"/>
                </a:ext>
              </a:extLst>
            </p:cNvPr>
            <p:cNvSpPr/>
            <p:nvPr/>
          </p:nvSpPr>
          <p:spPr bwMode="ltGray">
            <a:xfrm>
              <a:off x="3858441" y="3554812"/>
              <a:ext cx="410283" cy="394590"/>
            </a:xfrm>
            <a:custGeom>
              <a:avLst/>
              <a:gdLst>
                <a:gd name="connsiteX0" fmla="*/ 403857 w 410283"/>
                <a:gd name="connsiteY0" fmla="*/ 387640 h 394589"/>
                <a:gd name="connsiteX1" fmla="*/ 371404 w 410283"/>
                <a:gd name="connsiteY1" fmla="*/ 387640 h 394589"/>
                <a:gd name="connsiteX2" fmla="*/ 247543 w 410283"/>
                <a:gd name="connsiteY2" fmla="*/ 263779 h 394589"/>
                <a:gd name="connsiteX3" fmla="*/ 280006 w 410283"/>
                <a:gd name="connsiteY3" fmla="*/ 263779 h 394589"/>
                <a:gd name="connsiteX4" fmla="*/ 403857 w 410283"/>
                <a:gd name="connsiteY4" fmla="*/ 387640 h 394589"/>
                <a:gd name="connsiteX5" fmla="*/ 268749 w 410283"/>
                <a:gd name="connsiteY5" fmla="*/ 252522 h 394589"/>
                <a:gd name="connsiteX6" fmla="*/ 236287 w 410283"/>
                <a:gd name="connsiteY6" fmla="*/ 252522 h 394589"/>
                <a:gd name="connsiteX7" fmla="*/ 133912 w 410283"/>
                <a:gd name="connsiteY7" fmla="*/ 150148 h 394589"/>
                <a:gd name="connsiteX8" fmla="*/ 150138 w 410283"/>
                <a:gd name="connsiteY8" fmla="*/ 133912 h 394589"/>
                <a:gd name="connsiteX9" fmla="*/ 268749 w 410283"/>
                <a:gd name="connsiteY9" fmla="*/ 252522 h 394589"/>
                <a:gd name="connsiteX10" fmla="*/ 129933 w 410283"/>
                <a:gd name="connsiteY10" fmla="*/ 146168 h 394589"/>
                <a:gd name="connsiteX11" fmla="*/ 7006 w 410283"/>
                <a:gd name="connsiteY11" fmla="*/ 23242 h 394589"/>
                <a:gd name="connsiteX12" fmla="*/ 23233 w 410283"/>
                <a:gd name="connsiteY12" fmla="*/ 7006 h 394589"/>
                <a:gd name="connsiteX13" fmla="*/ 146159 w 410283"/>
                <a:gd name="connsiteY13" fmla="*/ 129942 h 394589"/>
                <a:gd name="connsiteX14" fmla="*/ 129933 w 410283"/>
                <a:gd name="connsiteY14" fmla="*/ 146168 h 394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0283" h="394589">
                  <a:moveTo>
                    <a:pt x="403857" y="387640"/>
                  </a:moveTo>
                  <a:lnTo>
                    <a:pt x="371404" y="387640"/>
                  </a:lnTo>
                  <a:lnTo>
                    <a:pt x="247543" y="263779"/>
                  </a:lnTo>
                  <a:lnTo>
                    <a:pt x="280006" y="263779"/>
                  </a:lnTo>
                  <a:lnTo>
                    <a:pt x="403857" y="387640"/>
                  </a:lnTo>
                  <a:close/>
                  <a:moveTo>
                    <a:pt x="268749" y="252522"/>
                  </a:moveTo>
                  <a:lnTo>
                    <a:pt x="236287" y="252522"/>
                  </a:lnTo>
                  <a:lnTo>
                    <a:pt x="133912" y="150148"/>
                  </a:lnTo>
                  <a:lnTo>
                    <a:pt x="150138" y="133912"/>
                  </a:lnTo>
                  <a:lnTo>
                    <a:pt x="268749" y="252522"/>
                  </a:lnTo>
                  <a:close/>
                  <a:moveTo>
                    <a:pt x="129933" y="146168"/>
                  </a:moveTo>
                  <a:lnTo>
                    <a:pt x="7006" y="23242"/>
                  </a:lnTo>
                  <a:lnTo>
                    <a:pt x="23233" y="7006"/>
                  </a:lnTo>
                  <a:lnTo>
                    <a:pt x="146159" y="129942"/>
                  </a:lnTo>
                  <a:lnTo>
                    <a:pt x="129933" y="14616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4" name="Freeform: Shape 13433">
              <a:extLst>
                <a:ext uri="{FF2B5EF4-FFF2-40B4-BE49-F238E27FC236}">
                  <a16:creationId xmlns:a16="http://schemas.microsoft.com/office/drawing/2014/main" id="{515CDFB9-E8ED-489F-A863-867188683490}"/>
                </a:ext>
              </a:extLst>
            </p:cNvPr>
            <p:cNvSpPr/>
            <p:nvPr/>
          </p:nvSpPr>
          <p:spPr bwMode="ltGray">
            <a:xfrm>
              <a:off x="3981367" y="3677747"/>
              <a:ext cx="33630" cy="33630"/>
            </a:xfrm>
            <a:custGeom>
              <a:avLst/>
              <a:gdLst>
                <a:gd name="connsiteX0" fmla="*/ 10986 w 33629"/>
                <a:gd name="connsiteY0" fmla="*/ 27212 h 33629"/>
                <a:gd name="connsiteX1" fmla="*/ 7006 w 33629"/>
                <a:gd name="connsiteY1" fmla="*/ 23233 h 33629"/>
                <a:gd name="connsiteX2" fmla="*/ 23233 w 33629"/>
                <a:gd name="connsiteY2" fmla="*/ 7006 h 33629"/>
                <a:gd name="connsiteX3" fmla="*/ 27212 w 33629"/>
                <a:gd name="connsiteY3" fmla="*/ 10976 h 33629"/>
                <a:gd name="connsiteX4" fmla="*/ 10986 w 33629"/>
                <a:gd name="connsiteY4" fmla="*/ 27212 h 33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9" h="33629">
                  <a:moveTo>
                    <a:pt x="10986" y="27212"/>
                  </a:moveTo>
                  <a:lnTo>
                    <a:pt x="7006" y="23233"/>
                  </a:lnTo>
                  <a:lnTo>
                    <a:pt x="23233" y="7006"/>
                  </a:lnTo>
                  <a:lnTo>
                    <a:pt x="27212" y="10976"/>
                  </a:lnTo>
                  <a:lnTo>
                    <a:pt x="10986" y="2721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5" name="Freeform: Shape 13434">
              <a:extLst>
                <a:ext uri="{FF2B5EF4-FFF2-40B4-BE49-F238E27FC236}">
                  <a16:creationId xmlns:a16="http://schemas.microsoft.com/office/drawing/2014/main" id="{1B9C9315-FDE4-4501-B924-5F600AC91966}"/>
                </a:ext>
              </a:extLst>
            </p:cNvPr>
            <p:cNvSpPr/>
            <p:nvPr/>
          </p:nvSpPr>
          <p:spPr bwMode="ltGray">
            <a:xfrm>
              <a:off x="4087722" y="3800328"/>
              <a:ext cx="56050" cy="24662"/>
            </a:xfrm>
            <a:custGeom>
              <a:avLst/>
              <a:gdLst>
                <a:gd name="connsiteX0" fmla="*/ 50725 w 56049"/>
                <a:gd name="connsiteY0" fmla="*/ 18263 h 24661"/>
                <a:gd name="connsiteX1" fmla="*/ 18263 w 56049"/>
                <a:gd name="connsiteY1" fmla="*/ 18263 h 24661"/>
                <a:gd name="connsiteX2" fmla="*/ 7006 w 56049"/>
                <a:gd name="connsiteY2" fmla="*/ 7006 h 24661"/>
                <a:gd name="connsiteX3" fmla="*/ 39468 w 56049"/>
                <a:gd name="connsiteY3" fmla="*/ 7006 h 24661"/>
                <a:gd name="connsiteX4" fmla="*/ 50725 w 56049"/>
                <a:gd name="connsiteY4" fmla="*/ 18263 h 24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49" h="24661">
                  <a:moveTo>
                    <a:pt x="50725" y="18263"/>
                  </a:moveTo>
                  <a:lnTo>
                    <a:pt x="18263" y="18263"/>
                  </a:lnTo>
                  <a:lnTo>
                    <a:pt x="7006" y="7006"/>
                  </a:lnTo>
                  <a:lnTo>
                    <a:pt x="39468" y="7006"/>
                  </a:lnTo>
                  <a:lnTo>
                    <a:pt x="50725" y="1826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6" name="Freeform: Shape 13435">
              <a:extLst>
                <a:ext uri="{FF2B5EF4-FFF2-40B4-BE49-F238E27FC236}">
                  <a16:creationId xmlns:a16="http://schemas.microsoft.com/office/drawing/2014/main" id="{33F11A80-C3EC-4461-BDA2-FD9D46E77602}"/>
                </a:ext>
              </a:extLst>
            </p:cNvPr>
            <p:cNvSpPr/>
            <p:nvPr/>
          </p:nvSpPr>
          <p:spPr bwMode="ltGray">
            <a:xfrm>
              <a:off x="4222839" y="3935445"/>
              <a:ext cx="51566" cy="17936"/>
            </a:xfrm>
            <a:custGeom>
              <a:avLst/>
              <a:gdLst>
                <a:gd name="connsiteX0" fmla="*/ 45092 w 51565"/>
                <a:gd name="connsiteY0" fmla="*/ 12630 h 17935"/>
                <a:gd name="connsiteX1" fmla="*/ 12639 w 51565"/>
                <a:gd name="connsiteY1" fmla="*/ 12630 h 17935"/>
                <a:gd name="connsiteX2" fmla="*/ 7006 w 51565"/>
                <a:gd name="connsiteY2" fmla="*/ 7006 h 17935"/>
                <a:gd name="connsiteX3" fmla="*/ 39459 w 51565"/>
                <a:gd name="connsiteY3" fmla="*/ 7006 h 17935"/>
                <a:gd name="connsiteX4" fmla="*/ 45092 w 51565"/>
                <a:gd name="connsiteY4" fmla="*/ 12630 h 17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65" h="17935">
                  <a:moveTo>
                    <a:pt x="45092" y="12630"/>
                  </a:moveTo>
                  <a:lnTo>
                    <a:pt x="12639" y="12630"/>
                  </a:lnTo>
                  <a:lnTo>
                    <a:pt x="7006" y="7006"/>
                  </a:lnTo>
                  <a:lnTo>
                    <a:pt x="39459" y="7006"/>
                  </a:lnTo>
                  <a:lnTo>
                    <a:pt x="45092" y="126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7" name="Freeform: Shape 13436">
              <a:extLst>
                <a:ext uri="{FF2B5EF4-FFF2-40B4-BE49-F238E27FC236}">
                  <a16:creationId xmlns:a16="http://schemas.microsoft.com/office/drawing/2014/main" id="{813C87AF-4DE5-4C0A-8DE0-F7994CD9E319}"/>
                </a:ext>
              </a:extLst>
            </p:cNvPr>
            <p:cNvSpPr/>
            <p:nvPr/>
          </p:nvSpPr>
          <p:spPr bwMode="ltGray">
            <a:xfrm>
              <a:off x="3211590" y="3227911"/>
              <a:ext cx="652418" cy="331814"/>
            </a:xfrm>
            <a:custGeom>
              <a:avLst/>
              <a:gdLst>
                <a:gd name="connsiteX0" fmla="*/ 629513 w 652418"/>
                <a:gd name="connsiteY0" fmla="*/ 325789 h 331813"/>
                <a:gd name="connsiteX1" fmla="*/ 491705 w 652418"/>
                <a:gd name="connsiteY1" fmla="*/ 187982 h 331813"/>
                <a:gd name="connsiteX2" fmla="*/ 507932 w 652418"/>
                <a:gd name="connsiteY2" fmla="*/ 171755 h 331813"/>
                <a:gd name="connsiteX3" fmla="*/ 645739 w 652418"/>
                <a:gd name="connsiteY3" fmla="*/ 309563 h 331813"/>
                <a:gd name="connsiteX4" fmla="*/ 629513 w 652418"/>
                <a:gd name="connsiteY4" fmla="*/ 325789 h 331813"/>
                <a:gd name="connsiteX5" fmla="*/ 483587 w 652418"/>
                <a:gd name="connsiteY5" fmla="*/ 179863 h 331813"/>
                <a:gd name="connsiteX6" fmla="*/ 415524 w 652418"/>
                <a:gd name="connsiteY6" fmla="*/ 111801 h 331813"/>
                <a:gd name="connsiteX7" fmla="*/ 447977 w 652418"/>
                <a:gd name="connsiteY7" fmla="*/ 111801 h 331813"/>
                <a:gd name="connsiteX8" fmla="*/ 499814 w 652418"/>
                <a:gd name="connsiteY8" fmla="*/ 163637 h 331813"/>
                <a:gd name="connsiteX9" fmla="*/ 483587 w 652418"/>
                <a:gd name="connsiteY9" fmla="*/ 179863 h 331813"/>
                <a:gd name="connsiteX10" fmla="*/ 431097 w 652418"/>
                <a:gd name="connsiteY10" fmla="*/ 94920 h 331813"/>
                <a:gd name="connsiteX11" fmla="*/ 398644 w 652418"/>
                <a:gd name="connsiteY11" fmla="*/ 94920 h 331813"/>
                <a:gd name="connsiteX12" fmla="*/ 333692 w 652418"/>
                <a:gd name="connsiteY12" fmla="*/ 29968 h 331813"/>
                <a:gd name="connsiteX13" fmla="*/ 323687 w 652418"/>
                <a:gd name="connsiteY13" fmla="*/ 29968 h 331813"/>
                <a:gd name="connsiteX14" fmla="*/ 300735 w 652418"/>
                <a:gd name="connsiteY14" fmla="*/ 7006 h 331813"/>
                <a:gd name="connsiteX15" fmla="*/ 343183 w 652418"/>
                <a:gd name="connsiteY15" fmla="*/ 7006 h 331813"/>
                <a:gd name="connsiteX16" fmla="*/ 431097 w 652418"/>
                <a:gd name="connsiteY16" fmla="*/ 94920 h 331813"/>
                <a:gd name="connsiteX17" fmla="*/ 299810 w 652418"/>
                <a:gd name="connsiteY17" fmla="*/ 29968 h 331813"/>
                <a:gd name="connsiteX18" fmla="*/ 7006 w 652418"/>
                <a:gd name="connsiteY18" fmla="*/ 29968 h 331813"/>
                <a:gd name="connsiteX19" fmla="*/ 29968 w 652418"/>
                <a:gd name="connsiteY19" fmla="*/ 7006 h 331813"/>
                <a:gd name="connsiteX20" fmla="*/ 276857 w 652418"/>
                <a:gd name="connsiteY20" fmla="*/ 7006 h 331813"/>
                <a:gd name="connsiteX21" fmla="*/ 299810 w 652418"/>
                <a:gd name="connsiteY21" fmla="*/ 29968 h 33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52418" h="331813">
                  <a:moveTo>
                    <a:pt x="629513" y="325789"/>
                  </a:moveTo>
                  <a:lnTo>
                    <a:pt x="491705" y="187982"/>
                  </a:lnTo>
                  <a:lnTo>
                    <a:pt x="507932" y="171755"/>
                  </a:lnTo>
                  <a:lnTo>
                    <a:pt x="645739" y="309563"/>
                  </a:lnTo>
                  <a:lnTo>
                    <a:pt x="629513" y="325789"/>
                  </a:lnTo>
                  <a:close/>
                  <a:moveTo>
                    <a:pt x="483587" y="179863"/>
                  </a:moveTo>
                  <a:lnTo>
                    <a:pt x="415524" y="111801"/>
                  </a:lnTo>
                  <a:lnTo>
                    <a:pt x="447977" y="111801"/>
                  </a:lnTo>
                  <a:lnTo>
                    <a:pt x="499814" y="163637"/>
                  </a:lnTo>
                  <a:lnTo>
                    <a:pt x="483587" y="179863"/>
                  </a:lnTo>
                  <a:close/>
                  <a:moveTo>
                    <a:pt x="431097" y="94920"/>
                  </a:moveTo>
                  <a:lnTo>
                    <a:pt x="398644" y="94920"/>
                  </a:lnTo>
                  <a:lnTo>
                    <a:pt x="333692" y="29968"/>
                  </a:lnTo>
                  <a:lnTo>
                    <a:pt x="323687" y="29968"/>
                  </a:lnTo>
                  <a:lnTo>
                    <a:pt x="300735" y="7006"/>
                  </a:lnTo>
                  <a:lnTo>
                    <a:pt x="343183" y="7006"/>
                  </a:lnTo>
                  <a:lnTo>
                    <a:pt x="431097" y="94920"/>
                  </a:lnTo>
                  <a:close/>
                  <a:moveTo>
                    <a:pt x="299810" y="29968"/>
                  </a:moveTo>
                  <a:lnTo>
                    <a:pt x="7006" y="29968"/>
                  </a:lnTo>
                  <a:lnTo>
                    <a:pt x="29968" y="7006"/>
                  </a:lnTo>
                  <a:lnTo>
                    <a:pt x="276857" y="7006"/>
                  </a:lnTo>
                  <a:lnTo>
                    <a:pt x="299810" y="2996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8" name="Freeform: Shape 13437">
              <a:extLst>
                <a:ext uri="{FF2B5EF4-FFF2-40B4-BE49-F238E27FC236}">
                  <a16:creationId xmlns:a16="http://schemas.microsoft.com/office/drawing/2014/main" id="{100B7701-CD0A-4908-A32A-80EC5E434ABF}"/>
                </a:ext>
              </a:extLst>
            </p:cNvPr>
            <p:cNvSpPr/>
            <p:nvPr/>
          </p:nvSpPr>
          <p:spPr bwMode="ltGray">
            <a:xfrm>
              <a:off x="3481441" y="3227911"/>
              <a:ext cx="183843" cy="116583"/>
            </a:xfrm>
            <a:custGeom>
              <a:avLst/>
              <a:gdLst>
                <a:gd name="connsiteX0" fmla="*/ 178126 w 183842"/>
                <a:gd name="connsiteY0" fmla="*/ 111801 h 116583"/>
                <a:gd name="connsiteX1" fmla="*/ 145673 w 183842"/>
                <a:gd name="connsiteY1" fmla="*/ 111801 h 116583"/>
                <a:gd name="connsiteX2" fmla="*/ 128793 w 183842"/>
                <a:gd name="connsiteY2" fmla="*/ 94920 h 116583"/>
                <a:gd name="connsiteX3" fmla="*/ 161246 w 183842"/>
                <a:gd name="connsiteY3" fmla="*/ 94920 h 116583"/>
                <a:gd name="connsiteX4" fmla="*/ 178126 w 183842"/>
                <a:gd name="connsiteY4" fmla="*/ 111801 h 116583"/>
                <a:gd name="connsiteX5" fmla="*/ 53836 w 183842"/>
                <a:gd name="connsiteY5" fmla="*/ 29968 h 116583"/>
                <a:gd name="connsiteX6" fmla="*/ 29959 w 183842"/>
                <a:gd name="connsiteY6" fmla="*/ 29968 h 116583"/>
                <a:gd name="connsiteX7" fmla="*/ 7006 w 183842"/>
                <a:gd name="connsiteY7" fmla="*/ 7006 h 116583"/>
                <a:gd name="connsiteX8" fmla="*/ 30883 w 183842"/>
                <a:gd name="connsiteY8" fmla="*/ 7006 h 116583"/>
                <a:gd name="connsiteX9" fmla="*/ 53836 w 183842"/>
                <a:gd name="connsiteY9" fmla="*/ 29968 h 11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842" h="116583">
                  <a:moveTo>
                    <a:pt x="178126" y="111801"/>
                  </a:moveTo>
                  <a:lnTo>
                    <a:pt x="145673" y="111801"/>
                  </a:lnTo>
                  <a:lnTo>
                    <a:pt x="128793" y="94920"/>
                  </a:lnTo>
                  <a:lnTo>
                    <a:pt x="161246" y="94920"/>
                  </a:lnTo>
                  <a:lnTo>
                    <a:pt x="178126" y="111801"/>
                  </a:lnTo>
                  <a:close/>
                  <a:moveTo>
                    <a:pt x="53836" y="29968"/>
                  </a:moveTo>
                  <a:lnTo>
                    <a:pt x="29959" y="29968"/>
                  </a:lnTo>
                  <a:lnTo>
                    <a:pt x="7006" y="7006"/>
                  </a:lnTo>
                  <a:lnTo>
                    <a:pt x="30883" y="7006"/>
                  </a:lnTo>
                  <a:lnTo>
                    <a:pt x="53836" y="2996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39" name="Freeform: Shape 13438">
              <a:extLst>
                <a:ext uri="{FF2B5EF4-FFF2-40B4-BE49-F238E27FC236}">
                  <a16:creationId xmlns:a16="http://schemas.microsoft.com/office/drawing/2014/main" id="{91B3CDB3-036D-4B86-9D3C-657322B06F79}"/>
                </a:ext>
              </a:extLst>
            </p:cNvPr>
            <p:cNvSpPr/>
            <p:nvPr/>
          </p:nvSpPr>
          <p:spPr bwMode="ltGray">
            <a:xfrm>
              <a:off x="-2860" y="3227911"/>
              <a:ext cx="3201556" cy="35872"/>
            </a:xfrm>
            <a:custGeom>
              <a:avLst/>
              <a:gdLst>
                <a:gd name="connsiteX0" fmla="*/ 3172778 w 3201556"/>
                <a:gd name="connsiteY0" fmla="*/ 29968 h 35871"/>
                <a:gd name="connsiteX1" fmla="*/ 2763166 w 3201556"/>
                <a:gd name="connsiteY1" fmla="*/ 29968 h 35871"/>
                <a:gd name="connsiteX2" fmla="*/ 2682016 w 3201556"/>
                <a:gd name="connsiteY2" fmla="*/ 29968 h 35871"/>
                <a:gd name="connsiteX3" fmla="*/ 2568403 w 3201556"/>
                <a:gd name="connsiteY3" fmla="*/ 29968 h 35871"/>
                <a:gd name="connsiteX4" fmla="*/ 2581649 w 3201556"/>
                <a:gd name="connsiteY4" fmla="*/ 7006 h 35871"/>
                <a:gd name="connsiteX5" fmla="*/ 3195730 w 3201556"/>
                <a:gd name="connsiteY5" fmla="*/ 7006 h 35871"/>
                <a:gd name="connsiteX6" fmla="*/ 3172778 w 3201556"/>
                <a:gd name="connsiteY6" fmla="*/ 29968 h 35871"/>
                <a:gd name="connsiteX7" fmla="*/ 2549131 w 3201556"/>
                <a:gd name="connsiteY7" fmla="*/ 29968 h 35871"/>
                <a:gd name="connsiteX8" fmla="*/ 2010381 w 3201556"/>
                <a:gd name="connsiteY8" fmla="*/ 29968 h 35871"/>
                <a:gd name="connsiteX9" fmla="*/ 1997135 w 3201556"/>
                <a:gd name="connsiteY9" fmla="*/ 7006 h 35871"/>
                <a:gd name="connsiteX10" fmla="*/ 2562387 w 3201556"/>
                <a:gd name="connsiteY10" fmla="*/ 7006 h 35871"/>
                <a:gd name="connsiteX11" fmla="*/ 2549131 w 3201556"/>
                <a:gd name="connsiteY11" fmla="*/ 29968 h 35871"/>
                <a:gd name="connsiteX12" fmla="*/ 1991119 w 3201556"/>
                <a:gd name="connsiteY12" fmla="*/ 29968 h 35871"/>
                <a:gd name="connsiteX13" fmla="*/ 1576772 w 3201556"/>
                <a:gd name="connsiteY13" fmla="*/ 29968 h 35871"/>
                <a:gd name="connsiteX14" fmla="*/ 1576772 w 3201556"/>
                <a:gd name="connsiteY14" fmla="*/ 7006 h 35871"/>
                <a:gd name="connsiteX15" fmla="*/ 1977863 w 3201556"/>
                <a:gd name="connsiteY15" fmla="*/ 7006 h 35871"/>
                <a:gd name="connsiteX16" fmla="*/ 1991119 w 3201556"/>
                <a:gd name="connsiteY16" fmla="*/ 29968 h 35871"/>
                <a:gd name="connsiteX17" fmla="*/ 1104553 w 3201556"/>
                <a:gd name="connsiteY17" fmla="*/ 29968 h 35871"/>
                <a:gd name="connsiteX18" fmla="*/ 233466 w 3201556"/>
                <a:gd name="connsiteY18" fmla="*/ 29968 h 35871"/>
                <a:gd name="connsiteX19" fmla="*/ 256418 w 3201556"/>
                <a:gd name="connsiteY19" fmla="*/ 7006 h 35871"/>
                <a:gd name="connsiteX20" fmla="*/ 586177 w 3201556"/>
                <a:gd name="connsiteY20" fmla="*/ 7006 h 35871"/>
                <a:gd name="connsiteX21" fmla="*/ 586177 w 3201556"/>
                <a:gd name="connsiteY21" fmla="*/ 14508 h 35871"/>
                <a:gd name="connsiteX22" fmla="*/ 991370 w 3201556"/>
                <a:gd name="connsiteY22" fmla="*/ 14508 h 35871"/>
                <a:gd name="connsiteX23" fmla="*/ 991370 w 3201556"/>
                <a:gd name="connsiteY23" fmla="*/ 7006 h 35871"/>
                <a:gd name="connsiteX24" fmla="*/ 1127505 w 3201556"/>
                <a:gd name="connsiteY24" fmla="*/ 7006 h 35871"/>
                <a:gd name="connsiteX25" fmla="*/ 1104553 w 3201556"/>
                <a:gd name="connsiteY25" fmla="*/ 29968 h 35871"/>
                <a:gd name="connsiteX26" fmla="*/ 225600 w 3201556"/>
                <a:gd name="connsiteY26" fmla="*/ 29968 h 35871"/>
                <a:gd name="connsiteX27" fmla="*/ 7006 w 3201556"/>
                <a:gd name="connsiteY27" fmla="*/ 29968 h 35871"/>
                <a:gd name="connsiteX28" fmla="*/ 7006 w 3201556"/>
                <a:gd name="connsiteY28" fmla="*/ 7006 h 35871"/>
                <a:gd name="connsiteX29" fmla="*/ 248552 w 3201556"/>
                <a:gd name="connsiteY29" fmla="*/ 7006 h 35871"/>
                <a:gd name="connsiteX30" fmla="*/ 225600 w 3201556"/>
                <a:gd name="connsiteY30" fmla="*/ 29968 h 3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201556" h="35871">
                  <a:moveTo>
                    <a:pt x="3172778" y="29968"/>
                  </a:moveTo>
                  <a:lnTo>
                    <a:pt x="2763166" y="29968"/>
                  </a:lnTo>
                  <a:lnTo>
                    <a:pt x="2682016" y="29968"/>
                  </a:lnTo>
                  <a:lnTo>
                    <a:pt x="2568403" y="29968"/>
                  </a:lnTo>
                  <a:lnTo>
                    <a:pt x="2581649" y="7006"/>
                  </a:lnTo>
                  <a:lnTo>
                    <a:pt x="3195730" y="7006"/>
                  </a:lnTo>
                  <a:lnTo>
                    <a:pt x="3172778" y="29968"/>
                  </a:lnTo>
                  <a:close/>
                  <a:moveTo>
                    <a:pt x="2549131" y="29968"/>
                  </a:moveTo>
                  <a:lnTo>
                    <a:pt x="2010381" y="29968"/>
                  </a:lnTo>
                  <a:lnTo>
                    <a:pt x="1997135" y="7006"/>
                  </a:lnTo>
                  <a:lnTo>
                    <a:pt x="2562387" y="7006"/>
                  </a:lnTo>
                  <a:lnTo>
                    <a:pt x="2549131" y="29968"/>
                  </a:lnTo>
                  <a:close/>
                  <a:moveTo>
                    <a:pt x="1991119" y="29968"/>
                  </a:moveTo>
                  <a:lnTo>
                    <a:pt x="1576772" y="29968"/>
                  </a:lnTo>
                  <a:lnTo>
                    <a:pt x="1576772" y="7006"/>
                  </a:lnTo>
                  <a:lnTo>
                    <a:pt x="1977863" y="7006"/>
                  </a:lnTo>
                  <a:lnTo>
                    <a:pt x="1991119" y="29968"/>
                  </a:lnTo>
                  <a:close/>
                  <a:moveTo>
                    <a:pt x="1104553" y="29968"/>
                  </a:moveTo>
                  <a:lnTo>
                    <a:pt x="233466" y="29968"/>
                  </a:lnTo>
                  <a:lnTo>
                    <a:pt x="256418" y="7006"/>
                  </a:lnTo>
                  <a:lnTo>
                    <a:pt x="586177" y="7006"/>
                  </a:lnTo>
                  <a:lnTo>
                    <a:pt x="586177" y="14508"/>
                  </a:lnTo>
                  <a:lnTo>
                    <a:pt x="991370" y="14508"/>
                  </a:lnTo>
                  <a:lnTo>
                    <a:pt x="991370" y="7006"/>
                  </a:lnTo>
                  <a:lnTo>
                    <a:pt x="1127505" y="7006"/>
                  </a:lnTo>
                  <a:lnTo>
                    <a:pt x="1104553" y="29968"/>
                  </a:lnTo>
                  <a:close/>
                  <a:moveTo>
                    <a:pt x="225600" y="29968"/>
                  </a:moveTo>
                  <a:lnTo>
                    <a:pt x="7006" y="29968"/>
                  </a:lnTo>
                  <a:lnTo>
                    <a:pt x="7006" y="7006"/>
                  </a:lnTo>
                  <a:lnTo>
                    <a:pt x="248552" y="7006"/>
                  </a:lnTo>
                  <a:lnTo>
                    <a:pt x="225600" y="2996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0" name="Freeform: Shape 13439">
              <a:extLst>
                <a:ext uri="{FF2B5EF4-FFF2-40B4-BE49-F238E27FC236}">
                  <a16:creationId xmlns:a16="http://schemas.microsoft.com/office/drawing/2014/main" id="{975A4937-C3BD-4391-900B-0916B4EDC4D7}"/>
                </a:ext>
              </a:extLst>
            </p:cNvPr>
            <p:cNvSpPr/>
            <p:nvPr/>
          </p:nvSpPr>
          <p:spPr bwMode="ltGray">
            <a:xfrm>
              <a:off x="1967997" y="3227911"/>
              <a:ext cx="616546" cy="35872"/>
            </a:xfrm>
            <a:custGeom>
              <a:avLst/>
              <a:gdLst>
                <a:gd name="connsiteX0" fmla="*/ 597546 w 616546"/>
                <a:gd name="connsiteY0" fmla="*/ 29968 h 35871"/>
                <a:gd name="connsiteX1" fmla="*/ 578274 w 616546"/>
                <a:gd name="connsiteY1" fmla="*/ 29968 h 35871"/>
                <a:gd name="connsiteX2" fmla="*/ 591530 w 616546"/>
                <a:gd name="connsiteY2" fmla="*/ 7006 h 35871"/>
                <a:gd name="connsiteX3" fmla="*/ 610792 w 616546"/>
                <a:gd name="connsiteY3" fmla="*/ 7006 h 35871"/>
                <a:gd name="connsiteX4" fmla="*/ 597546 w 616546"/>
                <a:gd name="connsiteY4" fmla="*/ 29968 h 35871"/>
                <a:gd name="connsiteX5" fmla="*/ 39524 w 616546"/>
                <a:gd name="connsiteY5" fmla="*/ 29968 h 35871"/>
                <a:gd name="connsiteX6" fmla="*/ 20262 w 616546"/>
                <a:gd name="connsiteY6" fmla="*/ 29968 h 35871"/>
                <a:gd name="connsiteX7" fmla="*/ 7006 w 616546"/>
                <a:gd name="connsiteY7" fmla="*/ 7006 h 35871"/>
                <a:gd name="connsiteX8" fmla="*/ 26278 w 616546"/>
                <a:gd name="connsiteY8" fmla="*/ 7006 h 35871"/>
                <a:gd name="connsiteX9" fmla="*/ 39524 w 616546"/>
                <a:gd name="connsiteY9" fmla="*/ 29968 h 3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546" h="35871">
                  <a:moveTo>
                    <a:pt x="597546" y="29968"/>
                  </a:moveTo>
                  <a:lnTo>
                    <a:pt x="578274" y="29968"/>
                  </a:lnTo>
                  <a:lnTo>
                    <a:pt x="591530" y="7006"/>
                  </a:lnTo>
                  <a:lnTo>
                    <a:pt x="610792" y="7006"/>
                  </a:lnTo>
                  <a:lnTo>
                    <a:pt x="597546" y="29968"/>
                  </a:lnTo>
                  <a:close/>
                  <a:moveTo>
                    <a:pt x="39524" y="29968"/>
                  </a:moveTo>
                  <a:lnTo>
                    <a:pt x="20262" y="29968"/>
                  </a:lnTo>
                  <a:lnTo>
                    <a:pt x="7006" y="7006"/>
                  </a:lnTo>
                  <a:lnTo>
                    <a:pt x="26278" y="7006"/>
                  </a:lnTo>
                  <a:lnTo>
                    <a:pt x="39524" y="2996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1" name="Freeform: Shape 13440">
              <a:extLst>
                <a:ext uri="{FF2B5EF4-FFF2-40B4-BE49-F238E27FC236}">
                  <a16:creationId xmlns:a16="http://schemas.microsoft.com/office/drawing/2014/main" id="{6992BF34-0097-4BDE-96A8-D7BD4FD985BA}"/>
                </a:ext>
              </a:extLst>
            </p:cNvPr>
            <p:cNvSpPr/>
            <p:nvPr/>
          </p:nvSpPr>
          <p:spPr bwMode="ltGray">
            <a:xfrm>
              <a:off x="215734" y="3227911"/>
              <a:ext cx="42598" cy="35872"/>
            </a:xfrm>
            <a:custGeom>
              <a:avLst/>
              <a:gdLst>
                <a:gd name="connsiteX0" fmla="*/ 14872 w 42597"/>
                <a:gd name="connsiteY0" fmla="*/ 29968 h 35871"/>
                <a:gd name="connsiteX1" fmla="*/ 7006 w 42597"/>
                <a:gd name="connsiteY1" fmla="*/ 29968 h 35871"/>
                <a:gd name="connsiteX2" fmla="*/ 29959 w 42597"/>
                <a:gd name="connsiteY2" fmla="*/ 7006 h 35871"/>
                <a:gd name="connsiteX3" fmla="*/ 37824 w 42597"/>
                <a:gd name="connsiteY3" fmla="*/ 7006 h 35871"/>
                <a:gd name="connsiteX4" fmla="*/ 14872 w 42597"/>
                <a:gd name="connsiteY4" fmla="*/ 29968 h 35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97" h="35871">
                  <a:moveTo>
                    <a:pt x="14872" y="29968"/>
                  </a:moveTo>
                  <a:lnTo>
                    <a:pt x="7006" y="29968"/>
                  </a:lnTo>
                  <a:lnTo>
                    <a:pt x="29959" y="7006"/>
                  </a:lnTo>
                  <a:lnTo>
                    <a:pt x="37824" y="7006"/>
                  </a:lnTo>
                  <a:lnTo>
                    <a:pt x="14872" y="2996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2" name="Freeform: Shape 13441">
              <a:extLst>
                <a:ext uri="{FF2B5EF4-FFF2-40B4-BE49-F238E27FC236}">
                  <a16:creationId xmlns:a16="http://schemas.microsoft.com/office/drawing/2014/main" id="{5959E0D5-4243-4C21-B9C4-AEA3A650AFBC}"/>
                </a:ext>
              </a:extLst>
            </p:cNvPr>
            <p:cNvSpPr/>
            <p:nvPr/>
          </p:nvSpPr>
          <p:spPr bwMode="ltGray">
            <a:xfrm>
              <a:off x="1094686" y="3227911"/>
              <a:ext cx="484269" cy="35872"/>
            </a:xfrm>
            <a:custGeom>
              <a:avLst/>
              <a:gdLst>
                <a:gd name="connsiteX0" fmla="*/ 479225 w 484269"/>
                <a:gd name="connsiteY0" fmla="*/ 29968 h 35871"/>
                <a:gd name="connsiteX1" fmla="*/ 7006 w 484269"/>
                <a:gd name="connsiteY1" fmla="*/ 29968 h 35871"/>
                <a:gd name="connsiteX2" fmla="*/ 29959 w 484269"/>
                <a:gd name="connsiteY2" fmla="*/ 7006 h 35871"/>
                <a:gd name="connsiteX3" fmla="*/ 479225 w 484269"/>
                <a:gd name="connsiteY3" fmla="*/ 7006 h 35871"/>
                <a:gd name="connsiteX4" fmla="*/ 479225 w 484269"/>
                <a:gd name="connsiteY4" fmla="*/ 29968 h 35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269" h="35871">
                  <a:moveTo>
                    <a:pt x="479225" y="29968"/>
                  </a:moveTo>
                  <a:lnTo>
                    <a:pt x="7006" y="29968"/>
                  </a:lnTo>
                  <a:lnTo>
                    <a:pt x="29959" y="7006"/>
                  </a:lnTo>
                  <a:lnTo>
                    <a:pt x="479225" y="7006"/>
                  </a:lnTo>
                  <a:lnTo>
                    <a:pt x="479225" y="2996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3" name="Freeform: Shape 13442">
              <a:extLst>
                <a:ext uri="{FF2B5EF4-FFF2-40B4-BE49-F238E27FC236}">
                  <a16:creationId xmlns:a16="http://schemas.microsoft.com/office/drawing/2014/main" id="{9C6A416F-3A75-41F0-9F7E-B4D3C0F5DDAD}"/>
                </a:ext>
              </a:extLst>
            </p:cNvPr>
            <p:cNvSpPr/>
            <p:nvPr/>
          </p:nvSpPr>
          <p:spPr bwMode="ltGray">
            <a:xfrm>
              <a:off x="576311" y="3227911"/>
              <a:ext cx="417009" cy="20178"/>
            </a:xfrm>
            <a:custGeom>
              <a:avLst/>
              <a:gdLst>
                <a:gd name="connsiteX0" fmla="*/ 7006 w 417009"/>
                <a:gd name="connsiteY0" fmla="*/ 7006 h 20177"/>
                <a:gd name="connsiteX1" fmla="*/ 412199 w 417009"/>
                <a:gd name="connsiteY1" fmla="*/ 7006 h 20177"/>
                <a:gd name="connsiteX2" fmla="*/ 412199 w 417009"/>
                <a:gd name="connsiteY2" fmla="*/ 14508 h 20177"/>
                <a:gd name="connsiteX3" fmla="*/ 7006 w 417009"/>
                <a:gd name="connsiteY3" fmla="*/ 14508 h 20177"/>
              </a:gdLst>
              <a:ahLst/>
              <a:cxnLst>
                <a:cxn ang="0">
                  <a:pos x="connsiteX0" y="connsiteY0"/>
                </a:cxn>
                <a:cxn ang="0">
                  <a:pos x="connsiteX1" y="connsiteY1"/>
                </a:cxn>
                <a:cxn ang="0">
                  <a:pos x="connsiteX2" y="connsiteY2"/>
                </a:cxn>
                <a:cxn ang="0">
                  <a:pos x="connsiteX3" y="connsiteY3"/>
                </a:cxn>
              </a:cxnLst>
              <a:rect l="l" t="t" r="r" b="b"/>
              <a:pathLst>
                <a:path w="417009" h="20177">
                  <a:moveTo>
                    <a:pt x="7006" y="7006"/>
                  </a:moveTo>
                  <a:lnTo>
                    <a:pt x="412199" y="7006"/>
                  </a:lnTo>
                  <a:lnTo>
                    <a:pt x="412199" y="14508"/>
                  </a:lnTo>
                  <a:lnTo>
                    <a:pt x="7006" y="1450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4" name="Freeform: Shape 13443">
              <a:extLst>
                <a:ext uri="{FF2B5EF4-FFF2-40B4-BE49-F238E27FC236}">
                  <a16:creationId xmlns:a16="http://schemas.microsoft.com/office/drawing/2014/main" id="{D9AC4EBB-E19F-4F65-B47D-237EF54D7D02}"/>
                </a:ext>
              </a:extLst>
            </p:cNvPr>
            <p:cNvSpPr/>
            <p:nvPr/>
          </p:nvSpPr>
          <p:spPr bwMode="ltGray">
            <a:xfrm>
              <a:off x="368095" y="2807108"/>
              <a:ext cx="2551380" cy="221957"/>
            </a:xfrm>
            <a:custGeom>
              <a:avLst/>
              <a:gdLst>
                <a:gd name="connsiteX0" fmla="*/ 2337441 w 2551380"/>
                <a:gd name="connsiteY0" fmla="*/ 215137 h 221956"/>
                <a:gd name="connsiteX1" fmla="*/ 2333489 w 2551380"/>
                <a:gd name="connsiteY1" fmla="*/ 215137 h 221956"/>
                <a:gd name="connsiteX2" fmla="*/ 2354330 w 2551380"/>
                <a:gd name="connsiteY2" fmla="*/ 179023 h 221956"/>
                <a:gd name="connsiteX3" fmla="*/ 2349482 w 2551380"/>
                <a:gd name="connsiteY3" fmla="*/ 170625 h 221956"/>
                <a:gd name="connsiteX4" fmla="*/ 2388521 w 2551380"/>
                <a:gd name="connsiteY4" fmla="*/ 131586 h 221956"/>
                <a:gd name="connsiteX5" fmla="*/ 2420983 w 2551380"/>
                <a:gd name="connsiteY5" fmla="*/ 131586 h 221956"/>
                <a:gd name="connsiteX6" fmla="*/ 2409324 w 2551380"/>
                <a:gd name="connsiteY6" fmla="*/ 143254 h 221956"/>
                <a:gd name="connsiteX7" fmla="*/ 2337441 w 2551380"/>
                <a:gd name="connsiteY7" fmla="*/ 215137 h 221956"/>
                <a:gd name="connsiteX8" fmla="*/ 2314227 w 2551380"/>
                <a:gd name="connsiteY8" fmla="*/ 215137 h 221956"/>
                <a:gd name="connsiteX9" fmla="*/ 1503384 w 2551380"/>
                <a:gd name="connsiteY9" fmla="*/ 215137 h 221956"/>
                <a:gd name="connsiteX10" fmla="*/ 1490128 w 2551380"/>
                <a:gd name="connsiteY10" fmla="*/ 192176 h 221956"/>
                <a:gd name="connsiteX11" fmla="*/ 2327483 w 2551380"/>
                <a:gd name="connsiteY11" fmla="*/ 192176 h 221956"/>
                <a:gd name="connsiteX12" fmla="*/ 2314227 w 2551380"/>
                <a:gd name="connsiteY12" fmla="*/ 215137 h 221956"/>
                <a:gd name="connsiteX13" fmla="*/ 1484121 w 2551380"/>
                <a:gd name="connsiteY13" fmla="*/ 215137 h 221956"/>
                <a:gd name="connsiteX14" fmla="*/ 1177772 w 2551380"/>
                <a:gd name="connsiteY14" fmla="*/ 215137 h 221956"/>
                <a:gd name="connsiteX15" fmla="*/ 1154820 w 2551380"/>
                <a:gd name="connsiteY15" fmla="*/ 192176 h 221956"/>
                <a:gd name="connsiteX16" fmla="*/ 1470866 w 2551380"/>
                <a:gd name="connsiteY16" fmla="*/ 192176 h 221956"/>
                <a:gd name="connsiteX17" fmla="*/ 1484121 w 2551380"/>
                <a:gd name="connsiteY17" fmla="*/ 215137 h 221956"/>
                <a:gd name="connsiteX18" fmla="*/ 1169916 w 2551380"/>
                <a:gd name="connsiteY18" fmla="*/ 215137 h 221956"/>
                <a:gd name="connsiteX19" fmla="*/ 184478 w 2551380"/>
                <a:gd name="connsiteY19" fmla="*/ 215137 h 221956"/>
                <a:gd name="connsiteX20" fmla="*/ 207440 w 2551380"/>
                <a:gd name="connsiteY20" fmla="*/ 192176 h 221956"/>
                <a:gd name="connsiteX21" fmla="*/ 1146954 w 2551380"/>
                <a:gd name="connsiteY21" fmla="*/ 192176 h 221956"/>
                <a:gd name="connsiteX22" fmla="*/ 1169916 w 2551380"/>
                <a:gd name="connsiteY22" fmla="*/ 215137 h 221956"/>
                <a:gd name="connsiteX23" fmla="*/ 160891 w 2551380"/>
                <a:gd name="connsiteY23" fmla="*/ 215137 h 221956"/>
                <a:gd name="connsiteX24" fmla="*/ 98143 w 2551380"/>
                <a:gd name="connsiteY24" fmla="*/ 215137 h 221956"/>
                <a:gd name="connsiteX25" fmla="*/ 121105 w 2551380"/>
                <a:gd name="connsiteY25" fmla="*/ 192176 h 221956"/>
                <a:gd name="connsiteX26" fmla="*/ 183843 w 2551380"/>
                <a:gd name="connsiteY26" fmla="*/ 192176 h 221956"/>
                <a:gd name="connsiteX27" fmla="*/ 160891 w 2551380"/>
                <a:gd name="connsiteY27" fmla="*/ 215137 h 221956"/>
                <a:gd name="connsiteX28" fmla="*/ 90277 w 2551380"/>
                <a:gd name="connsiteY28" fmla="*/ 215137 h 221956"/>
                <a:gd name="connsiteX29" fmla="*/ 7006 w 2551380"/>
                <a:gd name="connsiteY29" fmla="*/ 215137 h 221956"/>
                <a:gd name="connsiteX30" fmla="*/ 29968 w 2551380"/>
                <a:gd name="connsiteY30" fmla="*/ 192176 h 221956"/>
                <a:gd name="connsiteX31" fmla="*/ 113230 w 2551380"/>
                <a:gd name="connsiteY31" fmla="*/ 192176 h 221956"/>
                <a:gd name="connsiteX32" fmla="*/ 90277 w 2551380"/>
                <a:gd name="connsiteY32" fmla="*/ 215137 h 221956"/>
                <a:gd name="connsiteX33" fmla="*/ 2477266 w 2551380"/>
                <a:gd name="connsiteY33" fmla="*/ 75312 h 221956"/>
                <a:gd name="connsiteX34" fmla="*/ 2444804 w 2551380"/>
                <a:gd name="connsiteY34" fmla="*/ 75312 h 221956"/>
                <a:gd name="connsiteX35" fmla="*/ 2458013 w 2551380"/>
                <a:gd name="connsiteY35" fmla="*/ 62103 h 221956"/>
                <a:gd name="connsiteX36" fmla="*/ 2513110 w 2551380"/>
                <a:gd name="connsiteY36" fmla="*/ 7006 h 221956"/>
                <a:gd name="connsiteX37" fmla="*/ 2545572 w 2551380"/>
                <a:gd name="connsiteY37" fmla="*/ 7006 h 221956"/>
                <a:gd name="connsiteX38" fmla="*/ 2477266 w 2551380"/>
                <a:gd name="connsiteY38" fmla="*/ 75312 h 221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551380" h="221956">
                  <a:moveTo>
                    <a:pt x="2337441" y="215137"/>
                  </a:moveTo>
                  <a:lnTo>
                    <a:pt x="2333489" y="215137"/>
                  </a:lnTo>
                  <a:lnTo>
                    <a:pt x="2354330" y="179023"/>
                  </a:lnTo>
                  <a:lnTo>
                    <a:pt x="2349482" y="170625"/>
                  </a:lnTo>
                  <a:lnTo>
                    <a:pt x="2388521" y="131586"/>
                  </a:lnTo>
                  <a:lnTo>
                    <a:pt x="2420983" y="131586"/>
                  </a:lnTo>
                  <a:lnTo>
                    <a:pt x="2409324" y="143254"/>
                  </a:lnTo>
                  <a:lnTo>
                    <a:pt x="2337441" y="215137"/>
                  </a:lnTo>
                  <a:close/>
                  <a:moveTo>
                    <a:pt x="2314227" y="215137"/>
                  </a:moveTo>
                  <a:lnTo>
                    <a:pt x="1503384" y="215137"/>
                  </a:lnTo>
                  <a:lnTo>
                    <a:pt x="1490128" y="192176"/>
                  </a:lnTo>
                  <a:lnTo>
                    <a:pt x="2327483" y="192176"/>
                  </a:lnTo>
                  <a:lnTo>
                    <a:pt x="2314227" y="215137"/>
                  </a:lnTo>
                  <a:close/>
                  <a:moveTo>
                    <a:pt x="1484121" y="215137"/>
                  </a:moveTo>
                  <a:lnTo>
                    <a:pt x="1177772" y="215137"/>
                  </a:lnTo>
                  <a:lnTo>
                    <a:pt x="1154820" y="192176"/>
                  </a:lnTo>
                  <a:lnTo>
                    <a:pt x="1470866" y="192176"/>
                  </a:lnTo>
                  <a:lnTo>
                    <a:pt x="1484121" y="215137"/>
                  </a:lnTo>
                  <a:close/>
                  <a:moveTo>
                    <a:pt x="1169916" y="215137"/>
                  </a:moveTo>
                  <a:lnTo>
                    <a:pt x="184478" y="215137"/>
                  </a:lnTo>
                  <a:lnTo>
                    <a:pt x="207440" y="192176"/>
                  </a:lnTo>
                  <a:lnTo>
                    <a:pt x="1146954" y="192176"/>
                  </a:lnTo>
                  <a:lnTo>
                    <a:pt x="1169916" y="215137"/>
                  </a:lnTo>
                  <a:close/>
                  <a:moveTo>
                    <a:pt x="160891" y="215137"/>
                  </a:moveTo>
                  <a:lnTo>
                    <a:pt x="98143" y="215137"/>
                  </a:lnTo>
                  <a:lnTo>
                    <a:pt x="121105" y="192176"/>
                  </a:lnTo>
                  <a:lnTo>
                    <a:pt x="183843" y="192176"/>
                  </a:lnTo>
                  <a:lnTo>
                    <a:pt x="160891" y="215137"/>
                  </a:lnTo>
                  <a:close/>
                  <a:moveTo>
                    <a:pt x="90277" y="215137"/>
                  </a:moveTo>
                  <a:lnTo>
                    <a:pt x="7006" y="215137"/>
                  </a:lnTo>
                  <a:lnTo>
                    <a:pt x="29968" y="192176"/>
                  </a:lnTo>
                  <a:lnTo>
                    <a:pt x="113230" y="192176"/>
                  </a:lnTo>
                  <a:lnTo>
                    <a:pt x="90277" y="215137"/>
                  </a:lnTo>
                  <a:close/>
                  <a:moveTo>
                    <a:pt x="2477266" y="75312"/>
                  </a:moveTo>
                  <a:lnTo>
                    <a:pt x="2444804" y="75312"/>
                  </a:lnTo>
                  <a:lnTo>
                    <a:pt x="2458013" y="62103"/>
                  </a:lnTo>
                  <a:lnTo>
                    <a:pt x="2513110" y="7006"/>
                  </a:lnTo>
                  <a:lnTo>
                    <a:pt x="2545572" y="7006"/>
                  </a:lnTo>
                  <a:lnTo>
                    <a:pt x="2477266" y="75312"/>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5" name="Freeform: Shape 13444">
              <a:extLst>
                <a:ext uri="{FF2B5EF4-FFF2-40B4-BE49-F238E27FC236}">
                  <a16:creationId xmlns:a16="http://schemas.microsoft.com/office/drawing/2014/main" id="{11FC0D5D-2400-436A-A0D2-1D025D74B5C9}"/>
                </a:ext>
              </a:extLst>
            </p:cNvPr>
            <p:cNvSpPr/>
            <p:nvPr/>
          </p:nvSpPr>
          <p:spPr bwMode="ltGray">
            <a:xfrm>
              <a:off x="1831955" y="2970727"/>
              <a:ext cx="896795" cy="58292"/>
            </a:xfrm>
            <a:custGeom>
              <a:avLst/>
              <a:gdLst>
                <a:gd name="connsiteX0" fmla="*/ 869630 w 896794"/>
                <a:gd name="connsiteY0" fmla="*/ 51519 h 58291"/>
                <a:gd name="connsiteX1" fmla="*/ 850367 w 896794"/>
                <a:gd name="connsiteY1" fmla="*/ 51519 h 58291"/>
                <a:gd name="connsiteX2" fmla="*/ 863623 w 896794"/>
                <a:gd name="connsiteY2" fmla="*/ 28557 h 58291"/>
                <a:gd name="connsiteX3" fmla="*/ 864072 w 896794"/>
                <a:gd name="connsiteY3" fmla="*/ 28557 h 58291"/>
                <a:gd name="connsiteX4" fmla="*/ 885623 w 896794"/>
                <a:gd name="connsiteY4" fmla="*/ 7006 h 58291"/>
                <a:gd name="connsiteX5" fmla="*/ 890471 w 896794"/>
                <a:gd name="connsiteY5" fmla="*/ 15404 h 58291"/>
                <a:gd name="connsiteX6" fmla="*/ 869630 w 896794"/>
                <a:gd name="connsiteY6" fmla="*/ 51519 h 58291"/>
                <a:gd name="connsiteX7" fmla="*/ 39524 w 896794"/>
                <a:gd name="connsiteY7" fmla="*/ 51519 h 58291"/>
                <a:gd name="connsiteX8" fmla="*/ 20262 w 896794"/>
                <a:gd name="connsiteY8" fmla="*/ 51519 h 58291"/>
                <a:gd name="connsiteX9" fmla="*/ 7006 w 896794"/>
                <a:gd name="connsiteY9" fmla="*/ 28557 h 58291"/>
                <a:gd name="connsiteX10" fmla="*/ 26269 w 896794"/>
                <a:gd name="connsiteY10" fmla="*/ 28557 h 58291"/>
                <a:gd name="connsiteX11" fmla="*/ 39524 w 896794"/>
                <a:gd name="connsiteY11" fmla="*/ 51519 h 58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6794" h="58291">
                  <a:moveTo>
                    <a:pt x="869630" y="51519"/>
                  </a:moveTo>
                  <a:lnTo>
                    <a:pt x="850367" y="51519"/>
                  </a:lnTo>
                  <a:lnTo>
                    <a:pt x="863623" y="28557"/>
                  </a:lnTo>
                  <a:lnTo>
                    <a:pt x="864072" y="28557"/>
                  </a:lnTo>
                  <a:lnTo>
                    <a:pt x="885623" y="7006"/>
                  </a:lnTo>
                  <a:lnTo>
                    <a:pt x="890471" y="15404"/>
                  </a:lnTo>
                  <a:lnTo>
                    <a:pt x="869630" y="51519"/>
                  </a:lnTo>
                  <a:close/>
                  <a:moveTo>
                    <a:pt x="39524" y="51519"/>
                  </a:moveTo>
                  <a:lnTo>
                    <a:pt x="20262" y="51519"/>
                  </a:lnTo>
                  <a:lnTo>
                    <a:pt x="7006" y="28557"/>
                  </a:lnTo>
                  <a:lnTo>
                    <a:pt x="26269" y="28557"/>
                  </a:lnTo>
                  <a:lnTo>
                    <a:pt x="39524" y="5151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6" name="Freeform: Shape 13445">
              <a:extLst>
                <a:ext uri="{FF2B5EF4-FFF2-40B4-BE49-F238E27FC236}">
                  <a16:creationId xmlns:a16="http://schemas.microsoft.com/office/drawing/2014/main" id="{15046E63-2912-45AC-AB30-9779A4B90544}"/>
                </a:ext>
              </a:extLst>
            </p:cNvPr>
            <p:cNvSpPr/>
            <p:nvPr/>
          </p:nvSpPr>
          <p:spPr bwMode="ltGray">
            <a:xfrm>
              <a:off x="521980" y="2992278"/>
              <a:ext cx="60534" cy="35872"/>
            </a:xfrm>
            <a:custGeom>
              <a:avLst/>
              <a:gdLst>
                <a:gd name="connsiteX0" fmla="*/ 30594 w 60533"/>
                <a:gd name="connsiteY0" fmla="*/ 29968 h 35871"/>
                <a:gd name="connsiteX1" fmla="*/ 7006 w 60533"/>
                <a:gd name="connsiteY1" fmla="*/ 29968 h 35871"/>
                <a:gd name="connsiteX2" fmla="*/ 29959 w 60533"/>
                <a:gd name="connsiteY2" fmla="*/ 7006 h 35871"/>
                <a:gd name="connsiteX3" fmla="*/ 53556 w 60533"/>
                <a:gd name="connsiteY3" fmla="*/ 7006 h 35871"/>
                <a:gd name="connsiteX4" fmla="*/ 30594 w 60533"/>
                <a:gd name="connsiteY4" fmla="*/ 29968 h 35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533" h="35871">
                  <a:moveTo>
                    <a:pt x="30594" y="29968"/>
                  </a:moveTo>
                  <a:lnTo>
                    <a:pt x="7006" y="29968"/>
                  </a:lnTo>
                  <a:lnTo>
                    <a:pt x="29959" y="7006"/>
                  </a:lnTo>
                  <a:lnTo>
                    <a:pt x="53556" y="7006"/>
                  </a:lnTo>
                  <a:lnTo>
                    <a:pt x="30594" y="2996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7" name="Freeform: Shape 13446">
              <a:extLst>
                <a:ext uri="{FF2B5EF4-FFF2-40B4-BE49-F238E27FC236}">
                  <a16:creationId xmlns:a16="http://schemas.microsoft.com/office/drawing/2014/main" id="{DEE6AE30-4BE1-4A23-B7BB-42AA5E23B12A}"/>
                </a:ext>
              </a:extLst>
            </p:cNvPr>
            <p:cNvSpPr/>
            <p:nvPr/>
          </p:nvSpPr>
          <p:spPr bwMode="ltGray">
            <a:xfrm>
              <a:off x="451367" y="2992278"/>
              <a:ext cx="1100815" cy="35872"/>
            </a:xfrm>
            <a:custGeom>
              <a:avLst/>
              <a:gdLst>
                <a:gd name="connsiteX0" fmla="*/ 1094501 w 1100815"/>
                <a:gd name="connsiteY0" fmla="*/ 29968 h 35871"/>
                <a:gd name="connsiteX1" fmla="*/ 1086645 w 1100815"/>
                <a:gd name="connsiteY1" fmla="*/ 29968 h 35871"/>
                <a:gd name="connsiteX2" fmla="*/ 1063683 w 1100815"/>
                <a:gd name="connsiteY2" fmla="*/ 7006 h 35871"/>
                <a:gd name="connsiteX3" fmla="*/ 1071549 w 1100815"/>
                <a:gd name="connsiteY3" fmla="*/ 7006 h 35871"/>
                <a:gd name="connsiteX4" fmla="*/ 1094501 w 1100815"/>
                <a:gd name="connsiteY4" fmla="*/ 29968 h 35871"/>
                <a:gd name="connsiteX5" fmla="*/ 14872 w 1100815"/>
                <a:gd name="connsiteY5" fmla="*/ 29968 h 35871"/>
                <a:gd name="connsiteX6" fmla="*/ 7006 w 1100815"/>
                <a:gd name="connsiteY6" fmla="*/ 29968 h 35871"/>
                <a:gd name="connsiteX7" fmla="*/ 29959 w 1100815"/>
                <a:gd name="connsiteY7" fmla="*/ 7006 h 35871"/>
                <a:gd name="connsiteX8" fmla="*/ 37834 w 1100815"/>
                <a:gd name="connsiteY8" fmla="*/ 7006 h 35871"/>
                <a:gd name="connsiteX9" fmla="*/ 14872 w 1100815"/>
                <a:gd name="connsiteY9" fmla="*/ 29968 h 3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0815" h="35871">
                  <a:moveTo>
                    <a:pt x="1094501" y="29968"/>
                  </a:moveTo>
                  <a:lnTo>
                    <a:pt x="1086645" y="29968"/>
                  </a:lnTo>
                  <a:lnTo>
                    <a:pt x="1063683" y="7006"/>
                  </a:lnTo>
                  <a:lnTo>
                    <a:pt x="1071549" y="7006"/>
                  </a:lnTo>
                  <a:lnTo>
                    <a:pt x="1094501" y="29968"/>
                  </a:lnTo>
                  <a:close/>
                  <a:moveTo>
                    <a:pt x="14872" y="29968"/>
                  </a:moveTo>
                  <a:lnTo>
                    <a:pt x="7006" y="29968"/>
                  </a:lnTo>
                  <a:lnTo>
                    <a:pt x="29959" y="7006"/>
                  </a:lnTo>
                  <a:lnTo>
                    <a:pt x="37834" y="7006"/>
                  </a:lnTo>
                  <a:lnTo>
                    <a:pt x="14872" y="2996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8" name="Freeform: Shape 13447">
              <a:extLst>
                <a:ext uri="{FF2B5EF4-FFF2-40B4-BE49-F238E27FC236}">
                  <a16:creationId xmlns:a16="http://schemas.microsoft.com/office/drawing/2014/main" id="{C1242256-A72C-48B8-A376-0CC909A7B099}"/>
                </a:ext>
              </a:extLst>
            </p:cNvPr>
            <p:cNvSpPr/>
            <p:nvPr/>
          </p:nvSpPr>
          <p:spPr bwMode="ltGray">
            <a:xfrm>
              <a:off x="2749610" y="2875414"/>
              <a:ext cx="100889" cy="69502"/>
            </a:xfrm>
            <a:custGeom>
              <a:avLst/>
              <a:gdLst>
                <a:gd name="connsiteX0" fmla="*/ 39468 w 100889"/>
                <a:gd name="connsiteY0" fmla="*/ 63280 h 69501"/>
                <a:gd name="connsiteX1" fmla="*/ 7006 w 100889"/>
                <a:gd name="connsiteY1" fmla="*/ 63280 h 69501"/>
                <a:gd name="connsiteX2" fmla="*/ 11574 w 100889"/>
                <a:gd name="connsiteY2" fmla="*/ 58712 h 69501"/>
                <a:gd name="connsiteX3" fmla="*/ 63289 w 100889"/>
                <a:gd name="connsiteY3" fmla="*/ 7006 h 69501"/>
                <a:gd name="connsiteX4" fmla="*/ 95752 w 100889"/>
                <a:gd name="connsiteY4" fmla="*/ 7006 h 69501"/>
                <a:gd name="connsiteX5" fmla="*/ 92725 w 100889"/>
                <a:gd name="connsiteY5" fmla="*/ 10033 h 69501"/>
                <a:gd name="connsiteX6" fmla="*/ 39468 w 100889"/>
                <a:gd name="connsiteY6" fmla="*/ 63280 h 69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889" h="69501">
                  <a:moveTo>
                    <a:pt x="39468" y="63280"/>
                  </a:moveTo>
                  <a:lnTo>
                    <a:pt x="7006" y="63280"/>
                  </a:lnTo>
                  <a:lnTo>
                    <a:pt x="11574" y="58712"/>
                  </a:lnTo>
                  <a:lnTo>
                    <a:pt x="63289" y="7006"/>
                  </a:lnTo>
                  <a:lnTo>
                    <a:pt x="95752" y="7006"/>
                  </a:lnTo>
                  <a:lnTo>
                    <a:pt x="92725" y="10033"/>
                  </a:lnTo>
                  <a:lnTo>
                    <a:pt x="39468" y="6328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49" name="Freeform: Shape 13448">
              <a:extLst>
                <a:ext uri="{FF2B5EF4-FFF2-40B4-BE49-F238E27FC236}">
                  <a16:creationId xmlns:a16="http://schemas.microsoft.com/office/drawing/2014/main" id="{B831F15D-FA47-41DA-972D-052280D2B38D}"/>
                </a:ext>
              </a:extLst>
            </p:cNvPr>
            <p:cNvSpPr/>
            <p:nvPr/>
          </p:nvSpPr>
          <p:spPr bwMode="ltGray">
            <a:xfrm>
              <a:off x="-2860" y="2992278"/>
              <a:ext cx="405800" cy="35872"/>
            </a:xfrm>
            <a:custGeom>
              <a:avLst/>
              <a:gdLst>
                <a:gd name="connsiteX0" fmla="*/ 377962 w 405799"/>
                <a:gd name="connsiteY0" fmla="*/ 29968 h 35871"/>
                <a:gd name="connsiteX1" fmla="*/ 7006 w 405799"/>
                <a:gd name="connsiteY1" fmla="*/ 29968 h 35871"/>
                <a:gd name="connsiteX2" fmla="*/ 7006 w 405799"/>
                <a:gd name="connsiteY2" fmla="*/ 7006 h 35871"/>
                <a:gd name="connsiteX3" fmla="*/ 400924 w 405799"/>
                <a:gd name="connsiteY3" fmla="*/ 7006 h 35871"/>
                <a:gd name="connsiteX4" fmla="*/ 377962 w 405799"/>
                <a:gd name="connsiteY4" fmla="*/ 29968 h 35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799" h="35871">
                  <a:moveTo>
                    <a:pt x="377962" y="29968"/>
                  </a:moveTo>
                  <a:lnTo>
                    <a:pt x="7006" y="29968"/>
                  </a:lnTo>
                  <a:lnTo>
                    <a:pt x="7006" y="7006"/>
                  </a:lnTo>
                  <a:lnTo>
                    <a:pt x="400924" y="7006"/>
                  </a:lnTo>
                  <a:lnTo>
                    <a:pt x="377962" y="29968"/>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0" name="Freeform: Shape 13449">
              <a:extLst>
                <a:ext uri="{FF2B5EF4-FFF2-40B4-BE49-F238E27FC236}">
                  <a16:creationId xmlns:a16="http://schemas.microsoft.com/office/drawing/2014/main" id="{DF2BB40E-C453-4607-AE54-543EA76CE22C}"/>
                </a:ext>
              </a:extLst>
            </p:cNvPr>
            <p:cNvSpPr/>
            <p:nvPr/>
          </p:nvSpPr>
          <p:spPr bwMode="ltGray">
            <a:xfrm>
              <a:off x="2885680" y="2450212"/>
              <a:ext cx="1365370" cy="358718"/>
            </a:xfrm>
            <a:custGeom>
              <a:avLst/>
              <a:gdLst>
                <a:gd name="connsiteX0" fmla="*/ 39468 w 1365369"/>
                <a:gd name="connsiteY0" fmla="*/ 352422 h 358717"/>
                <a:gd name="connsiteX1" fmla="*/ 7006 w 1365369"/>
                <a:gd name="connsiteY1" fmla="*/ 352422 h 358717"/>
                <a:gd name="connsiteX2" fmla="*/ 352422 w 1365369"/>
                <a:gd name="connsiteY2" fmla="*/ 7006 h 358717"/>
                <a:gd name="connsiteX3" fmla="*/ 674577 w 1365369"/>
                <a:gd name="connsiteY3" fmla="*/ 7006 h 358717"/>
                <a:gd name="connsiteX4" fmla="*/ 651625 w 1365369"/>
                <a:gd name="connsiteY4" fmla="*/ 29959 h 358717"/>
                <a:gd name="connsiteX5" fmla="*/ 361922 w 1365369"/>
                <a:gd name="connsiteY5" fmla="*/ 29959 h 358717"/>
                <a:gd name="connsiteX6" fmla="*/ 39468 w 1365369"/>
                <a:gd name="connsiteY6" fmla="*/ 352422 h 358717"/>
                <a:gd name="connsiteX7" fmla="*/ 1360205 w 1365369"/>
                <a:gd name="connsiteY7" fmla="*/ 268768 h 358717"/>
                <a:gd name="connsiteX8" fmla="*/ 1208263 w 1365369"/>
                <a:gd name="connsiteY8" fmla="*/ 268768 h 358717"/>
                <a:gd name="connsiteX9" fmla="*/ 1064795 w 1365369"/>
                <a:gd name="connsiteY9" fmla="*/ 125308 h 358717"/>
                <a:gd name="connsiteX10" fmla="*/ 1097257 w 1365369"/>
                <a:gd name="connsiteY10" fmla="*/ 125308 h 358717"/>
                <a:gd name="connsiteX11" fmla="*/ 1217764 w 1365369"/>
                <a:gd name="connsiteY11" fmla="*/ 245815 h 358717"/>
                <a:gd name="connsiteX12" fmla="*/ 1360205 w 1365369"/>
                <a:gd name="connsiteY12" fmla="*/ 245815 h 358717"/>
                <a:gd name="connsiteX13" fmla="*/ 1360205 w 1365369"/>
                <a:gd name="connsiteY13" fmla="*/ 268768 h 358717"/>
                <a:gd name="connsiteX14" fmla="*/ 1080367 w 1365369"/>
                <a:gd name="connsiteY14" fmla="*/ 108419 h 358717"/>
                <a:gd name="connsiteX15" fmla="*/ 1047915 w 1365369"/>
                <a:gd name="connsiteY15" fmla="*/ 108419 h 358717"/>
                <a:gd name="connsiteX16" fmla="*/ 969454 w 1365369"/>
                <a:gd name="connsiteY16" fmla="*/ 29959 h 358717"/>
                <a:gd name="connsiteX17" fmla="*/ 667851 w 1365369"/>
                <a:gd name="connsiteY17" fmla="*/ 29959 h 358717"/>
                <a:gd name="connsiteX18" fmla="*/ 690803 w 1365369"/>
                <a:gd name="connsiteY18" fmla="*/ 7006 h 358717"/>
                <a:gd name="connsiteX19" fmla="*/ 978964 w 1365369"/>
                <a:gd name="connsiteY19" fmla="*/ 7006 h 358717"/>
                <a:gd name="connsiteX20" fmla="*/ 1080367 w 1365369"/>
                <a:gd name="connsiteY20" fmla="*/ 108419 h 358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65369" h="358717">
                  <a:moveTo>
                    <a:pt x="39468" y="352422"/>
                  </a:moveTo>
                  <a:lnTo>
                    <a:pt x="7006" y="352422"/>
                  </a:lnTo>
                  <a:lnTo>
                    <a:pt x="352422" y="7006"/>
                  </a:lnTo>
                  <a:lnTo>
                    <a:pt x="674577" y="7006"/>
                  </a:lnTo>
                  <a:lnTo>
                    <a:pt x="651625" y="29959"/>
                  </a:lnTo>
                  <a:lnTo>
                    <a:pt x="361922" y="29959"/>
                  </a:lnTo>
                  <a:lnTo>
                    <a:pt x="39468" y="352422"/>
                  </a:lnTo>
                  <a:close/>
                  <a:moveTo>
                    <a:pt x="1360205" y="268768"/>
                  </a:moveTo>
                  <a:lnTo>
                    <a:pt x="1208263" y="268768"/>
                  </a:lnTo>
                  <a:lnTo>
                    <a:pt x="1064795" y="125308"/>
                  </a:lnTo>
                  <a:lnTo>
                    <a:pt x="1097257" y="125308"/>
                  </a:lnTo>
                  <a:lnTo>
                    <a:pt x="1217764" y="245815"/>
                  </a:lnTo>
                  <a:lnTo>
                    <a:pt x="1360205" y="245815"/>
                  </a:lnTo>
                  <a:lnTo>
                    <a:pt x="1360205" y="268768"/>
                  </a:lnTo>
                  <a:close/>
                  <a:moveTo>
                    <a:pt x="1080367" y="108419"/>
                  </a:moveTo>
                  <a:lnTo>
                    <a:pt x="1047915" y="108419"/>
                  </a:lnTo>
                  <a:lnTo>
                    <a:pt x="969454" y="29959"/>
                  </a:lnTo>
                  <a:lnTo>
                    <a:pt x="667851" y="29959"/>
                  </a:lnTo>
                  <a:lnTo>
                    <a:pt x="690803" y="7006"/>
                  </a:lnTo>
                  <a:lnTo>
                    <a:pt x="978964" y="7006"/>
                  </a:lnTo>
                  <a:lnTo>
                    <a:pt x="1080367" y="108419"/>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1" name="Freeform: Shape 13450">
              <a:extLst>
                <a:ext uri="{FF2B5EF4-FFF2-40B4-BE49-F238E27FC236}">
                  <a16:creationId xmlns:a16="http://schemas.microsoft.com/office/drawing/2014/main" id="{AE8BA95A-7022-45ED-8377-332310D6A0BA}"/>
                </a:ext>
              </a:extLst>
            </p:cNvPr>
            <p:cNvSpPr/>
            <p:nvPr/>
          </p:nvSpPr>
          <p:spPr bwMode="ltGray">
            <a:xfrm>
              <a:off x="3926588" y="2551625"/>
              <a:ext cx="62776" cy="29146"/>
            </a:xfrm>
            <a:custGeom>
              <a:avLst/>
              <a:gdLst>
                <a:gd name="connsiteX0" fmla="*/ 56348 w 62775"/>
                <a:gd name="connsiteY0" fmla="*/ 23896 h 29145"/>
                <a:gd name="connsiteX1" fmla="*/ 23887 w 62775"/>
                <a:gd name="connsiteY1" fmla="*/ 23896 h 29145"/>
                <a:gd name="connsiteX2" fmla="*/ 7006 w 62775"/>
                <a:gd name="connsiteY2" fmla="*/ 7006 h 29145"/>
                <a:gd name="connsiteX3" fmla="*/ 39459 w 62775"/>
                <a:gd name="connsiteY3" fmla="*/ 7006 h 29145"/>
                <a:gd name="connsiteX4" fmla="*/ 56348 w 62775"/>
                <a:gd name="connsiteY4" fmla="*/ 23896 h 2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75" h="29145">
                  <a:moveTo>
                    <a:pt x="56348" y="23896"/>
                  </a:moveTo>
                  <a:lnTo>
                    <a:pt x="23887" y="23896"/>
                  </a:lnTo>
                  <a:lnTo>
                    <a:pt x="7006" y="7006"/>
                  </a:lnTo>
                  <a:lnTo>
                    <a:pt x="39459" y="7006"/>
                  </a:lnTo>
                  <a:lnTo>
                    <a:pt x="56348" y="2389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2" name="Freeform: Shape 13451">
              <a:extLst>
                <a:ext uri="{FF2B5EF4-FFF2-40B4-BE49-F238E27FC236}">
                  <a16:creationId xmlns:a16="http://schemas.microsoft.com/office/drawing/2014/main" id="{7A3559DB-31D5-4DE6-871C-D45DBD85C01F}"/>
                </a:ext>
              </a:extLst>
            </p:cNvPr>
            <p:cNvSpPr/>
            <p:nvPr/>
          </p:nvSpPr>
          <p:spPr bwMode="ltGray">
            <a:xfrm>
              <a:off x="2861233" y="3770024"/>
              <a:ext cx="773485" cy="168149"/>
            </a:xfrm>
            <a:custGeom>
              <a:avLst/>
              <a:gdLst>
                <a:gd name="connsiteX0" fmla="*/ 650018 w 773485"/>
                <a:gd name="connsiteY0" fmla="*/ 162217 h 168148"/>
                <a:gd name="connsiteX1" fmla="*/ 329703 w 773485"/>
                <a:gd name="connsiteY1" fmla="*/ 162217 h 168148"/>
                <a:gd name="connsiteX2" fmla="*/ 405342 w 773485"/>
                <a:gd name="connsiteY2" fmla="*/ 127784 h 168148"/>
                <a:gd name="connsiteX3" fmla="*/ 635763 w 773485"/>
                <a:gd name="connsiteY3" fmla="*/ 127784 h 168148"/>
                <a:gd name="connsiteX4" fmla="*/ 719501 w 773485"/>
                <a:gd name="connsiteY4" fmla="*/ 44046 h 168148"/>
                <a:gd name="connsiteX5" fmla="*/ 768189 w 773485"/>
                <a:gd name="connsiteY5" fmla="*/ 44046 h 168148"/>
                <a:gd name="connsiteX6" fmla="*/ 765181 w 773485"/>
                <a:gd name="connsiteY6" fmla="*/ 47054 h 168148"/>
                <a:gd name="connsiteX7" fmla="*/ 674857 w 773485"/>
                <a:gd name="connsiteY7" fmla="*/ 137387 h 168148"/>
                <a:gd name="connsiteX8" fmla="*/ 670934 w 773485"/>
                <a:gd name="connsiteY8" fmla="*/ 137387 h 168148"/>
                <a:gd name="connsiteX9" fmla="*/ 670934 w 773485"/>
                <a:gd name="connsiteY9" fmla="*/ 141301 h 168148"/>
                <a:gd name="connsiteX10" fmla="*/ 650018 w 773485"/>
                <a:gd name="connsiteY10" fmla="*/ 162217 h 168148"/>
                <a:gd name="connsiteX11" fmla="*/ 532752 w 773485"/>
                <a:gd name="connsiteY11" fmla="*/ 137387 h 168148"/>
                <a:gd name="connsiteX12" fmla="*/ 532752 w 773485"/>
                <a:gd name="connsiteY12" fmla="*/ 143002 h 168148"/>
                <a:gd name="connsiteX13" fmla="*/ 601843 w 773485"/>
                <a:gd name="connsiteY13" fmla="*/ 143002 h 168148"/>
                <a:gd name="connsiteX14" fmla="*/ 601843 w 773485"/>
                <a:gd name="connsiteY14" fmla="*/ 137387 h 168148"/>
                <a:gd name="connsiteX15" fmla="*/ 532752 w 773485"/>
                <a:gd name="connsiteY15" fmla="*/ 137387 h 168148"/>
                <a:gd name="connsiteX16" fmla="*/ 429901 w 773485"/>
                <a:gd name="connsiteY16" fmla="*/ 137387 h 168148"/>
                <a:gd name="connsiteX17" fmla="*/ 429901 w 773485"/>
                <a:gd name="connsiteY17" fmla="*/ 143002 h 168148"/>
                <a:gd name="connsiteX18" fmla="*/ 463671 w 773485"/>
                <a:gd name="connsiteY18" fmla="*/ 143002 h 168148"/>
                <a:gd name="connsiteX19" fmla="*/ 463671 w 773485"/>
                <a:gd name="connsiteY19" fmla="*/ 137387 h 168148"/>
                <a:gd name="connsiteX20" fmla="*/ 429901 w 773485"/>
                <a:gd name="connsiteY20" fmla="*/ 137387 h 168148"/>
                <a:gd name="connsiteX21" fmla="*/ 280024 w 773485"/>
                <a:gd name="connsiteY21" fmla="*/ 162217 h 168148"/>
                <a:gd name="connsiteX22" fmla="*/ 162227 w 773485"/>
                <a:gd name="connsiteY22" fmla="*/ 162217 h 168148"/>
                <a:gd name="connsiteX23" fmla="*/ 7006 w 773485"/>
                <a:gd name="connsiteY23" fmla="*/ 7006 h 168148"/>
                <a:gd name="connsiteX24" fmla="*/ 55704 w 773485"/>
                <a:gd name="connsiteY24" fmla="*/ 7006 h 168148"/>
                <a:gd name="connsiteX25" fmla="*/ 176482 w 773485"/>
                <a:gd name="connsiteY25" fmla="*/ 127784 h 168148"/>
                <a:gd name="connsiteX26" fmla="*/ 204395 w 773485"/>
                <a:gd name="connsiteY26" fmla="*/ 127784 h 168148"/>
                <a:gd name="connsiteX27" fmla="*/ 280024 w 773485"/>
                <a:gd name="connsiteY27" fmla="*/ 162217 h 168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73485" h="168148">
                  <a:moveTo>
                    <a:pt x="650018" y="162217"/>
                  </a:moveTo>
                  <a:lnTo>
                    <a:pt x="329703" y="162217"/>
                  </a:lnTo>
                  <a:cubicBezTo>
                    <a:pt x="358176" y="157677"/>
                    <a:pt x="384109" y="145468"/>
                    <a:pt x="405342" y="127784"/>
                  </a:cubicBezTo>
                  <a:lnTo>
                    <a:pt x="635763" y="127784"/>
                  </a:lnTo>
                  <a:lnTo>
                    <a:pt x="719501" y="44046"/>
                  </a:lnTo>
                  <a:lnTo>
                    <a:pt x="768189" y="44046"/>
                  </a:lnTo>
                  <a:lnTo>
                    <a:pt x="765181" y="47054"/>
                  </a:lnTo>
                  <a:lnTo>
                    <a:pt x="674857" y="137387"/>
                  </a:lnTo>
                  <a:lnTo>
                    <a:pt x="670934" y="137387"/>
                  </a:lnTo>
                  <a:lnTo>
                    <a:pt x="670934" y="141301"/>
                  </a:lnTo>
                  <a:lnTo>
                    <a:pt x="650018" y="162217"/>
                  </a:lnTo>
                  <a:close/>
                  <a:moveTo>
                    <a:pt x="532752" y="137387"/>
                  </a:moveTo>
                  <a:lnTo>
                    <a:pt x="532752" y="143002"/>
                  </a:lnTo>
                  <a:lnTo>
                    <a:pt x="601843" y="143002"/>
                  </a:lnTo>
                  <a:lnTo>
                    <a:pt x="601843" y="137387"/>
                  </a:lnTo>
                  <a:lnTo>
                    <a:pt x="532752" y="137387"/>
                  </a:lnTo>
                  <a:close/>
                  <a:moveTo>
                    <a:pt x="429901" y="137387"/>
                  </a:moveTo>
                  <a:lnTo>
                    <a:pt x="429901" y="143002"/>
                  </a:lnTo>
                  <a:lnTo>
                    <a:pt x="463671" y="143002"/>
                  </a:lnTo>
                  <a:lnTo>
                    <a:pt x="463671" y="137387"/>
                  </a:lnTo>
                  <a:lnTo>
                    <a:pt x="429901" y="137387"/>
                  </a:lnTo>
                  <a:close/>
                  <a:moveTo>
                    <a:pt x="280024" y="162217"/>
                  </a:moveTo>
                  <a:lnTo>
                    <a:pt x="162227" y="162217"/>
                  </a:lnTo>
                  <a:lnTo>
                    <a:pt x="7006" y="7006"/>
                  </a:lnTo>
                  <a:lnTo>
                    <a:pt x="55704" y="7006"/>
                  </a:lnTo>
                  <a:lnTo>
                    <a:pt x="176482" y="127784"/>
                  </a:lnTo>
                  <a:lnTo>
                    <a:pt x="204395" y="127784"/>
                  </a:lnTo>
                  <a:cubicBezTo>
                    <a:pt x="225619" y="145468"/>
                    <a:pt x="251560" y="157677"/>
                    <a:pt x="280024" y="162217"/>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3" name="Freeform: Shape 13452">
              <a:extLst>
                <a:ext uri="{FF2B5EF4-FFF2-40B4-BE49-F238E27FC236}">
                  <a16:creationId xmlns:a16="http://schemas.microsoft.com/office/drawing/2014/main" id="{BF5B2807-1940-4EB4-96F2-A3D5D212AAE0}"/>
                </a:ext>
              </a:extLst>
            </p:cNvPr>
            <p:cNvSpPr/>
            <p:nvPr/>
          </p:nvSpPr>
          <p:spPr bwMode="ltGray">
            <a:xfrm>
              <a:off x="3058621" y="3890801"/>
              <a:ext cx="212989" cy="47082"/>
            </a:xfrm>
            <a:custGeom>
              <a:avLst/>
              <a:gdLst>
                <a:gd name="connsiteX0" fmla="*/ 132315 w 212988"/>
                <a:gd name="connsiteY0" fmla="*/ 41439 h 47081"/>
                <a:gd name="connsiteX1" fmla="*/ 82636 w 212988"/>
                <a:gd name="connsiteY1" fmla="*/ 41439 h 47081"/>
                <a:gd name="connsiteX2" fmla="*/ 7006 w 212988"/>
                <a:gd name="connsiteY2" fmla="*/ 7006 h 47081"/>
                <a:gd name="connsiteX3" fmla="*/ 207954 w 212988"/>
                <a:gd name="connsiteY3" fmla="*/ 7006 h 47081"/>
                <a:gd name="connsiteX4" fmla="*/ 132315 w 212988"/>
                <a:gd name="connsiteY4" fmla="*/ 41439 h 47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988" h="47081">
                  <a:moveTo>
                    <a:pt x="132315" y="41439"/>
                  </a:moveTo>
                  <a:lnTo>
                    <a:pt x="82636" y="41439"/>
                  </a:lnTo>
                  <a:cubicBezTo>
                    <a:pt x="54172" y="36900"/>
                    <a:pt x="28230" y="24690"/>
                    <a:pt x="7006" y="7006"/>
                  </a:cubicBezTo>
                  <a:lnTo>
                    <a:pt x="207954" y="7006"/>
                  </a:lnTo>
                  <a:cubicBezTo>
                    <a:pt x="186720" y="24690"/>
                    <a:pt x="160788" y="36900"/>
                    <a:pt x="132315" y="41439"/>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4" name="Freeform: Shape 13453">
              <a:extLst>
                <a:ext uri="{FF2B5EF4-FFF2-40B4-BE49-F238E27FC236}">
                  <a16:creationId xmlns:a16="http://schemas.microsoft.com/office/drawing/2014/main" id="{0D494BAE-792A-4B1B-86E8-C5166D07CD02}"/>
                </a:ext>
              </a:extLst>
            </p:cNvPr>
            <p:cNvSpPr/>
            <p:nvPr/>
          </p:nvSpPr>
          <p:spPr bwMode="ltGray">
            <a:xfrm>
              <a:off x="2562049" y="3470830"/>
              <a:ext cx="1268964" cy="343024"/>
            </a:xfrm>
            <a:custGeom>
              <a:avLst/>
              <a:gdLst>
                <a:gd name="connsiteX0" fmla="*/ 1073006 w 1268964"/>
                <a:gd name="connsiteY0" fmla="*/ 337616 h 343023"/>
                <a:gd name="connsiteX1" fmla="*/ 1024308 w 1268964"/>
                <a:gd name="connsiteY1" fmla="*/ 337616 h 343023"/>
                <a:gd name="connsiteX2" fmla="*/ 1040021 w 1268964"/>
                <a:gd name="connsiteY2" fmla="*/ 321903 h 343023"/>
                <a:gd name="connsiteX3" fmla="*/ 1080592 w 1268964"/>
                <a:gd name="connsiteY3" fmla="*/ 281332 h 343023"/>
                <a:gd name="connsiteX4" fmla="*/ 1215195 w 1268964"/>
                <a:gd name="connsiteY4" fmla="*/ 146729 h 343023"/>
                <a:gd name="connsiteX5" fmla="*/ 1263884 w 1268964"/>
                <a:gd name="connsiteY5" fmla="*/ 146729 h 343023"/>
                <a:gd name="connsiteX6" fmla="*/ 1104945 w 1268964"/>
                <a:gd name="connsiteY6" fmla="*/ 305677 h 343023"/>
                <a:gd name="connsiteX7" fmla="*/ 1073006 w 1268964"/>
                <a:gd name="connsiteY7" fmla="*/ 337616 h 343023"/>
                <a:gd name="connsiteX8" fmla="*/ 346434 w 1268964"/>
                <a:gd name="connsiteY8" fmla="*/ 297736 h 343023"/>
                <a:gd name="connsiteX9" fmla="*/ 297736 w 1268964"/>
                <a:gd name="connsiteY9" fmla="*/ 297736 h 343023"/>
                <a:gd name="connsiteX10" fmla="*/ 201125 w 1268964"/>
                <a:gd name="connsiteY10" fmla="*/ 201125 h 343023"/>
                <a:gd name="connsiteX11" fmla="*/ 227665 w 1268964"/>
                <a:gd name="connsiteY11" fmla="*/ 178976 h 343023"/>
                <a:gd name="connsiteX12" fmla="*/ 346434 w 1268964"/>
                <a:gd name="connsiteY12" fmla="*/ 297736 h 343023"/>
                <a:gd name="connsiteX13" fmla="*/ 143478 w 1268964"/>
                <a:gd name="connsiteY13" fmla="*/ 143478 h 343023"/>
                <a:gd name="connsiteX14" fmla="*/ 79273 w 1268964"/>
                <a:gd name="connsiteY14" fmla="*/ 79273 h 343023"/>
                <a:gd name="connsiteX15" fmla="*/ 127971 w 1268964"/>
                <a:gd name="connsiteY15" fmla="*/ 79273 h 343023"/>
                <a:gd name="connsiteX16" fmla="*/ 165627 w 1268964"/>
                <a:gd name="connsiteY16" fmla="*/ 116938 h 343023"/>
                <a:gd name="connsiteX17" fmla="*/ 143478 w 1268964"/>
                <a:gd name="connsiteY17" fmla="*/ 143478 h 343023"/>
                <a:gd name="connsiteX18" fmla="*/ 116714 w 1268964"/>
                <a:gd name="connsiteY18" fmla="*/ 68016 h 343023"/>
                <a:gd name="connsiteX19" fmla="*/ 68016 w 1268964"/>
                <a:gd name="connsiteY19" fmla="*/ 68016 h 343023"/>
                <a:gd name="connsiteX20" fmla="*/ 7006 w 1268964"/>
                <a:gd name="connsiteY20" fmla="*/ 7006 h 343023"/>
                <a:gd name="connsiteX21" fmla="*/ 55695 w 1268964"/>
                <a:gd name="connsiteY21" fmla="*/ 7006 h 343023"/>
                <a:gd name="connsiteX22" fmla="*/ 116714 w 1268964"/>
                <a:gd name="connsiteY22" fmla="*/ 68016 h 343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68964" h="343023">
                  <a:moveTo>
                    <a:pt x="1073006" y="337616"/>
                  </a:moveTo>
                  <a:lnTo>
                    <a:pt x="1024308" y="337616"/>
                  </a:lnTo>
                  <a:lnTo>
                    <a:pt x="1040021" y="321903"/>
                  </a:lnTo>
                  <a:lnTo>
                    <a:pt x="1080592" y="281332"/>
                  </a:lnTo>
                  <a:lnTo>
                    <a:pt x="1215195" y="146729"/>
                  </a:lnTo>
                  <a:lnTo>
                    <a:pt x="1263884" y="146729"/>
                  </a:lnTo>
                  <a:lnTo>
                    <a:pt x="1104945" y="305677"/>
                  </a:lnTo>
                  <a:lnTo>
                    <a:pt x="1073006" y="337616"/>
                  </a:lnTo>
                  <a:close/>
                  <a:moveTo>
                    <a:pt x="346434" y="297736"/>
                  </a:moveTo>
                  <a:lnTo>
                    <a:pt x="297736" y="297736"/>
                  </a:lnTo>
                  <a:lnTo>
                    <a:pt x="201125" y="201125"/>
                  </a:lnTo>
                  <a:cubicBezTo>
                    <a:pt x="212587" y="197473"/>
                    <a:pt x="222088" y="189429"/>
                    <a:pt x="227665" y="178976"/>
                  </a:cubicBezTo>
                  <a:lnTo>
                    <a:pt x="346434" y="297736"/>
                  </a:lnTo>
                  <a:close/>
                  <a:moveTo>
                    <a:pt x="143478" y="143478"/>
                  </a:moveTo>
                  <a:lnTo>
                    <a:pt x="79273" y="79273"/>
                  </a:lnTo>
                  <a:lnTo>
                    <a:pt x="127971" y="79273"/>
                  </a:lnTo>
                  <a:lnTo>
                    <a:pt x="165627" y="116938"/>
                  </a:lnTo>
                  <a:cubicBezTo>
                    <a:pt x="155174" y="122516"/>
                    <a:pt x="147130" y="132016"/>
                    <a:pt x="143478" y="143478"/>
                  </a:cubicBezTo>
                  <a:close/>
                  <a:moveTo>
                    <a:pt x="116714" y="68016"/>
                  </a:moveTo>
                  <a:lnTo>
                    <a:pt x="68016" y="68016"/>
                  </a:lnTo>
                  <a:lnTo>
                    <a:pt x="7006" y="7006"/>
                  </a:lnTo>
                  <a:lnTo>
                    <a:pt x="55695" y="7006"/>
                  </a:lnTo>
                  <a:lnTo>
                    <a:pt x="116714" y="68016"/>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5" name="Freeform: Shape 13454">
              <a:extLst>
                <a:ext uri="{FF2B5EF4-FFF2-40B4-BE49-F238E27FC236}">
                  <a16:creationId xmlns:a16="http://schemas.microsoft.com/office/drawing/2014/main" id="{D470E66B-217E-4F5B-A43A-E973FBBA496C}"/>
                </a:ext>
              </a:extLst>
            </p:cNvPr>
            <p:cNvSpPr/>
            <p:nvPr/>
          </p:nvSpPr>
          <p:spPr bwMode="ltGray">
            <a:xfrm>
              <a:off x="2623059" y="3531840"/>
              <a:ext cx="71744" cy="24662"/>
            </a:xfrm>
            <a:custGeom>
              <a:avLst/>
              <a:gdLst>
                <a:gd name="connsiteX0" fmla="*/ 66961 w 71743"/>
                <a:gd name="connsiteY0" fmla="*/ 18263 h 24661"/>
                <a:gd name="connsiteX1" fmla="*/ 18263 w 71743"/>
                <a:gd name="connsiteY1" fmla="*/ 18263 h 24661"/>
                <a:gd name="connsiteX2" fmla="*/ 7006 w 71743"/>
                <a:gd name="connsiteY2" fmla="*/ 7006 h 24661"/>
                <a:gd name="connsiteX3" fmla="*/ 55704 w 71743"/>
                <a:gd name="connsiteY3" fmla="*/ 7006 h 24661"/>
                <a:gd name="connsiteX4" fmla="*/ 66961 w 71743"/>
                <a:gd name="connsiteY4" fmla="*/ 18263 h 24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43" h="24661">
                  <a:moveTo>
                    <a:pt x="66961" y="18263"/>
                  </a:moveTo>
                  <a:lnTo>
                    <a:pt x="18263" y="18263"/>
                  </a:lnTo>
                  <a:lnTo>
                    <a:pt x="7006" y="7006"/>
                  </a:lnTo>
                  <a:lnTo>
                    <a:pt x="55704" y="7006"/>
                  </a:lnTo>
                  <a:lnTo>
                    <a:pt x="66961" y="1826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6" name="Freeform: Shape 13455">
              <a:extLst>
                <a:ext uri="{FF2B5EF4-FFF2-40B4-BE49-F238E27FC236}">
                  <a16:creationId xmlns:a16="http://schemas.microsoft.com/office/drawing/2014/main" id="{AA88F2BB-1FD4-4F95-8625-E58FED0BEBA7}"/>
                </a:ext>
              </a:extLst>
            </p:cNvPr>
            <p:cNvSpPr/>
            <p:nvPr/>
          </p:nvSpPr>
          <p:spPr bwMode="ltGray">
            <a:xfrm>
              <a:off x="3781494" y="3457210"/>
              <a:ext cx="2145581" cy="154697"/>
            </a:xfrm>
            <a:custGeom>
              <a:avLst/>
              <a:gdLst>
                <a:gd name="connsiteX0" fmla="*/ 55695 w 2145580"/>
                <a:gd name="connsiteY0" fmla="*/ 149092 h 154697"/>
                <a:gd name="connsiteX1" fmla="*/ 7006 w 2145580"/>
                <a:gd name="connsiteY1" fmla="*/ 149092 h 154697"/>
                <a:gd name="connsiteX2" fmla="*/ 59609 w 2145580"/>
                <a:gd name="connsiteY2" fmla="*/ 96489 h 154697"/>
                <a:gd name="connsiteX3" fmla="*/ 75835 w 2145580"/>
                <a:gd name="connsiteY3" fmla="*/ 80263 h 154697"/>
                <a:gd name="connsiteX4" fmla="*/ 140928 w 2145580"/>
                <a:gd name="connsiteY4" fmla="*/ 15171 h 154697"/>
                <a:gd name="connsiteX5" fmla="*/ 1733262 w 2145580"/>
                <a:gd name="connsiteY5" fmla="*/ 15171 h 154697"/>
                <a:gd name="connsiteX6" fmla="*/ 1733262 w 2145580"/>
                <a:gd name="connsiteY6" fmla="*/ 7006 h 154697"/>
                <a:gd name="connsiteX7" fmla="*/ 2139660 w 2145580"/>
                <a:gd name="connsiteY7" fmla="*/ 7006 h 154697"/>
                <a:gd name="connsiteX8" fmla="*/ 2139660 w 2145580"/>
                <a:gd name="connsiteY8" fmla="*/ 41439 h 154697"/>
                <a:gd name="connsiteX9" fmla="*/ 163357 w 2145580"/>
                <a:gd name="connsiteY9" fmla="*/ 41439 h 154697"/>
                <a:gd name="connsiteX10" fmla="*/ 100179 w 2145580"/>
                <a:gd name="connsiteY10" fmla="*/ 104607 h 154697"/>
                <a:gd name="connsiteX11" fmla="*/ 83953 w 2145580"/>
                <a:gd name="connsiteY11" fmla="*/ 120843 h 154697"/>
                <a:gd name="connsiteX12" fmla="*/ 55695 w 2145580"/>
                <a:gd name="connsiteY12" fmla="*/ 149092 h 154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45580" h="154697">
                  <a:moveTo>
                    <a:pt x="55695" y="149092"/>
                  </a:moveTo>
                  <a:lnTo>
                    <a:pt x="7006" y="149092"/>
                  </a:lnTo>
                  <a:lnTo>
                    <a:pt x="59609" y="96489"/>
                  </a:lnTo>
                  <a:lnTo>
                    <a:pt x="75835" y="80263"/>
                  </a:lnTo>
                  <a:lnTo>
                    <a:pt x="140928" y="15171"/>
                  </a:lnTo>
                  <a:lnTo>
                    <a:pt x="1733262" y="15171"/>
                  </a:lnTo>
                  <a:lnTo>
                    <a:pt x="1733262" y="7006"/>
                  </a:lnTo>
                  <a:lnTo>
                    <a:pt x="2139660" y="7006"/>
                  </a:lnTo>
                  <a:lnTo>
                    <a:pt x="2139660" y="41439"/>
                  </a:lnTo>
                  <a:lnTo>
                    <a:pt x="163357" y="41439"/>
                  </a:lnTo>
                  <a:lnTo>
                    <a:pt x="100179" y="104607"/>
                  </a:lnTo>
                  <a:lnTo>
                    <a:pt x="83953" y="120843"/>
                  </a:lnTo>
                  <a:lnTo>
                    <a:pt x="55695" y="149092"/>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7" name="Freeform: Shape 13456">
              <a:extLst>
                <a:ext uri="{FF2B5EF4-FFF2-40B4-BE49-F238E27FC236}">
                  <a16:creationId xmlns:a16="http://schemas.microsoft.com/office/drawing/2014/main" id="{8CEBBDE7-29B8-4A07-BB19-E73C27DA1CEA}"/>
                </a:ext>
              </a:extLst>
            </p:cNvPr>
            <p:cNvSpPr/>
            <p:nvPr/>
          </p:nvSpPr>
          <p:spPr bwMode="ltGray">
            <a:xfrm>
              <a:off x="3915416" y="3457210"/>
              <a:ext cx="1605262" cy="20178"/>
            </a:xfrm>
            <a:custGeom>
              <a:avLst/>
              <a:gdLst>
                <a:gd name="connsiteX0" fmla="*/ 1599341 w 1605262"/>
                <a:gd name="connsiteY0" fmla="*/ 15171 h 20177"/>
                <a:gd name="connsiteX1" fmla="*/ 7006 w 1605262"/>
                <a:gd name="connsiteY1" fmla="*/ 15171 h 20177"/>
                <a:gd name="connsiteX2" fmla="*/ 15171 w 1605262"/>
                <a:gd name="connsiteY2" fmla="*/ 7006 h 20177"/>
                <a:gd name="connsiteX3" fmla="*/ 1599341 w 1605262"/>
                <a:gd name="connsiteY3" fmla="*/ 7006 h 20177"/>
                <a:gd name="connsiteX4" fmla="*/ 1599341 w 1605262"/>
                <a:gd name="connsiteY4" fmla="*/ 15171 h 20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5262" h="20177">
                  <a:moveTo>
                    <a:pt x="1599341" y="15171"/>
                  </a:moveTo>
                  <a:lnTo>
                    <a:pt x="7006" y="15171"/>
                  </a:lnTo>
                  <a:lnTo>
                    <a:pt x="15171" y="7006"/>
                  </a:lnTo>
                  <a:lnTo>
                    <a:pt x="1599341" y="7006"/>
                  </a:lnTo>
                  <a:lnTo>
                    <a:pt x="1599341" y="1517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8" name="Freeform: Shape 13457">
              <a:extLst>
                <a:ext uri="{FF2B5EF4-FFF2-40B4-BE49-F238E27FC236}">
                  <a16:creationId xmlns:a16="http://schemas.microsoft.com/office/drawing/2014/main" id="{E03BD497-4148-4EA1-82E4-3EE9664FF40B}"/>
                </a:ext>
              </a:extLst>
            </p:cNvPr>
            <p:cNvSpPr/>
            <p:nvPr/>
          </p:nvSpPr>
          <p:spPr bwMode="ltGray">
            <a:xfrm>
              <a:off x="2698521" y="3580762"/>
              <a:ext cx="96405" cy="96405"/>
            </a:xfrm>
            <a:custGeom>
              <a:avLst/>
              <a:gdLst>
                <a:gd name="connsiteX0" fmla="*/ 64653 w 96405"/>
                <a:gd name="connsiteY0" fmla="*/ 91193 h 96405"/>
                <a:gd name="connsiteX1" fmla="*/ 7006 w 96405"/>
                <a:gd name="connsiteY1" fmla="*/ 33546 h 96405"/>
                <a:gd name="connsiteX2" fmla="*/ 29155 w 96405"/>
                <a:gd name="connsiteY2" fmla="*/ 7006 h 96405"/>
                <a:gd name="connsiteX3" fmla="*/ 91193 w 96405"/>
                <a:gd name="connsiteY3" fmla="*/ 69044 h 96405"/>
                <a:gd name="connsiteX4" fmla="*/ 64653 w 96405"/>
                <a:gd name="connsiteY4" fmla="*/ 91193 h 96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405" h="96405">
                  <a:moveTo>
                    <a:pt x="64653" y="91193"/>
                  </a:moveTo>
                  <a:lnTo>
                    <a:pt x="7006" y="33546"/>
                  </a:lnTo>
                  <a:cubicBezTo>
                    <a:pt x="10659" y="22084"/>
                    <a:pt x="18702" y="12583"/>
                    <a:pt x="29155" y="7006"/>
                  </a:cubicBezTo>
                  <a:lnTo>
                    <a:pt x="91193" y="69044"/>
                  </a:lnTo>
                  <a:cubicBezTo>
                    <a:pt x="85616" y="79497"/>
                    <a:pt x="76116" y="87540"/>
                    <a:pt x="64653" y="91193"/>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59" name="Freeform: Shape 13458">
              <a:extLst>
                <a:ext uri="{FF2B5EF4-FFF2-40B4-BE49-F238E27FC236}">
                  <a16:creationId xmlns:a16="http://schemas.microsoft.com/office/drawing/2014/main" id="{06956732-9E61-4C27-91FF-64C4786E32DE}"/>
                </a:ext>
              </a:extLst>
            </p:cNvPr>
            <p:cNvSpPr/>
            <p:nvPr/>
          </p:nvSpPr>
          <p:spPr bwMode="ltGray">
            <a:xfrm>
              <a:off x="3573727" y="3801440"/>
              <a:ext cx="67260" cy="17936"/>
            </a:xfrm>
            <a:custGeom>
              <a:avLst/>
              <a:gdLst>
                <a:gd name="connsiteX0" fmla="*/ 55695 w 67259"/>
                <a:gd name="connsiteY0" fmla="*/ 12630 h 17935"/>
                <a:gd name="connsiteX1" fmla="*/ 7006 w 67259"/>
                <a:gd name="connsiteY1" fmla="*/ 12630 h 17935"/>
                <a:gd name="connsiteX2" fmla="*/ 12630 w 67259"/>
                <a:gd name="connsiteY2" fmla="*/ 7006 h 17935"/>
                <a:gd name="connsiteX3" fmla="*/ 61328 w 67259"/>
                <a:gd name="connsiteY3" fmla="*/ 7006 h 17935"/>
                <a:gd name="connsiteX4" fmla="*/ 55695 w 67259"/>
                <a:gd name="connsiteY4" fmla="*/ 12630 h 17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59" h="17935">
                  <a:moveTo>
                    <a:pt x="55695" y="12630"/>
                  </a:moveTo>
                  <a:lnTo>
                    <a:pt x="7006" y="12630"/>
                  </a:lnTo>
                  <a:lnTo>
                    <a:pt x="12630" y="7006"/>
                  </a:lnTo>
                  <a:lnTo>
                    <a:pt x="61328" y="7006"/>
                  </a:lnTo>
                  <a:lnTo>
                    <a:pt x="55695" y="126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0" name="Freeform: Shape 13459">
              <a:extLst>
                <a:ext uri="{FF2B5EF4-FFF2-40B4-BE49-F238E27FC236}">
                  <a16:creationId xmlns:a16="http://schemas.microsoft.com/office/drawing/2014/main" id="{6B1C29AD-BED0-43CF-A8DF-11C89556AEB4}"/>
                </a:ext>
              </a:extLst>
            </p:cNvPr>
            <p:cNvSpPr/>
            <p:nvPr/>
          </p:nvSpPr>
          <p:spPr bwMode="ltGray">
            <a:xfrm>
              <a:off x="3770238" y="3599296"/>
              <a:ext cx="71744" cy="24662"/>
            </a:xfrm>
            <a:custGeom>
              <a:avLst/>
              <a:gdLst>
                <a:gd name="connsiteX0" fmla="*/ 55695 w 71743"/>
                <a:gd name="connsiteY0" fmla="*/ 18263 h 24661"/>
                <a:gd name="connsiteX1" fmla="*/ 7006 w 71743"/>
                <a:gd name="connsiteY1" fmla="*/ 18263 h 24661"/>
                <a:gd name="connsiteX2" fmla="*/ 18263 w 71743"/>
                <a:gd name="connsiteY2" fmla="*/ 7006 h 24661"/>
                <a:gd name="connsiteX3" fmla="*/ 66951 w 71743"/>
                <a:gd name="connsiteY3" fmla="*/ 7006 h 24661"/>
                <a:gd name="connsiteX4" fmla="*/ 55695 w 71743"/>
                <a:gd name="connsiteY4" fmla="*/ 18263 h 24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43" h="24661">
                  <a:moveTo>
                    <a:pt x="55695" y="18263"/>
                  </a:moveTo>
                  <a:lnTo>
                    <a:pt x="7006" y="18263"/>
                  </a:lnTo>
                  <a:lnTo>
                    <a:pt x="18263" y="7006"/>
                  </a:lnTo>
                  <a:lnTo>
                    <a:pt x="66951" y="7006"/>
                  </a:lnTo>
                  <a:lnTo>
                    <a:pt x="55695" y="1826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1" name="Freeform: Shape 13460">
              <a:extLst>
                <a:ext uri="{FF2B5EF4-FFF2-40B4-BE49-F238E27FC236}">
                  <a16:creationId xmlns:a16="http://schemas.microsoft.com/office/drawing/2014/main" id="{E3965D02-3E1D-4327-9E82-799C0BB985A3}"/>
                </a:ext>
              </a:extLst>
            </p:cNvPr>
            <p:cNvSpPr/>
            <p:nvPr/>
          </p:nvSpPr>
          <p:spPr bwMode="ltGray">
            <a:xfrm>
              <a:off x="2852779" y="3761560"/>
              <a:ext cx="69502" cy="22420"/>
            </a:xfrm>
            <a:custGeom>
              <a:avLst/>
              <a:gdLst>
                <a:gd name="connsiteX0" fmla="*/ 64158 w 69501"/>
                <a:gd name="connsiteY0" fmla="*/ 15470 h 22419"/>
                <a:gd name="connsiteX1" fmla="*/ 15460 w 69501"/>
                <a:gd name="connsiteY1" fmla="*/ 15470 h 22419"/>
                <a:gd name="connsiteX2" fmla="*/ 7006 w 69501"/>
                <a:gd name="connsiteY2" fmla="*/ 7006 h 22419"/>
                <a:gd name="connsiteX3" fmla="*/ 55704 w 69501"/>
                <a:gd name="connsiteY3" fmla="*/ 7006 h 22419"/>
                <a:gd name="connsiteX4" fmla="*/ 64158 w 69501"/>
                <a:gd name="connsiteY4" fmla="*/ 15470 h 22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01" h="22419">
                  <a:moveTo>
                    <a:pt x="64158" y="15470"/>
                  </a:moveTo>
                  <a:lnTo>
                    <a:pt x="15460" y="15470"/>
                  </a:lnTo>
                  <a:lnTo>
                    <a:pt x="7006" y="7006"/>
                  </a:lnTo>
                  <a:lnTo>
                    <a:pt x="55704" y="7006"/>
                  </a:lnTo>
                  <a:lnTo>
                    <a:pt x="64158" y="1547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2" name="Freeform: Shape 13461">
              <a:extLst>
                <a:ext uri="{FF2B5EF4-FFF2-40B4-BE49-F238E27FC236}">
                  <a16:creationId xmlns:a16="http://schemas.microsoft.com/office/drawing/2014/main" id="{9FF7661F-2825-4B44-8C6E-D2D4591129D8}"/>
                </a:ext>
              </a:extLst>
            </p:cNvPr>
            <p:cNvSpPr/>
            <p:nvPr/>
          </p:nvSpPr>
          <p:spPr bwMode="ltGray">
            <a:xfrm>
              <a:off x="3284128" y="3900405"/>
              <a:ext cx="47082" cy="17936"/>
            </a:xfrm>
            <a:custGeom>
              <a:avLst/>
              <a:gdLst>
                <a:gd name="connsiteX0" fmla="*/ 7006 w 47081"/>
                <a:gd name="connsiteY0" fmla="*/ 7006 h 17935"/>
                <a:gd name="connsiteX1" fmla="*/ 40776 w 47081"/>
                <a:gd name="connsiteY1" fmla="*/ 7006 h 17935"/>
                <a:gd name="connsiteX2" fmla="*/ 40776 w 47081"/>
                <a:gd name="connsiteY2" fmla="*/ 12621 h 17935"/>
                <a:gd name="connsiteX3" fmla="*/ 7006 w 47081"/>
                <a:gd name="connsiteY3" fmla="*/ 12621 h 17935"/>
              </a:gdLst>
              <a:ahLst/>
              <a:cxnLst>
                <a:cxn ang="0">
                  <a:pos x="connsiteX0" y="connsiteY0"/>
                </a:cxn>
                <a:cxn ang="0">
                  <a:pos x="connsiteX1" y="connsiteY1"/>
                </a:cxn>
                <a:cxn ang="0">
                  <a:pos x="connsiteX2" y="connsiteY2"/>
                </a:cxn>
                <a:cxn ang="0">
                  <a:pos x="connsiteX3" y="connsiteY3"/>
                </a:cxn>
              </a:cxnLst>
              <a:rect l="l" t="t" r="r" b="b"/>
              <a:pathLst>
                <a:path w="47081" h="17935">
                  <a:moveTo>
                    <a:pt x="7006" y="7006"/>
                  </a:moveTo>
                  <a:lnTo>
                    <a:pt x="40776" y="7006"/>
                  </a:lnTo>
                  <a:lnTo>
                    <a:pt x="40776" y="12621"/>
                  </a:lnTo>
                  <a:lnTo>
                    <a:pt x="7006" y="1262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3" name="Freeform: Shape 13462">
              <a:extLst>
                <a:ext uri="{FF2B5EF4-FFF2-40B4-BE49-F238E27FC236}">
                  <a16:creationId xmlns:a16="http://schemas.microsoft.com/office/drawing/2014/main" id="{A05F2A44-EC77-447F-B970-066026EE61F2}"/>
                </a:ext>
              </a:extLst>
            </p:cNvPr>
            <p:cNvSpPr/>
            <p:nvPr/>
          </p:nvSpPr>
          <p:spPr bwMode="ltGray">
            <a:xfrm>
              <a:off x="3386979" y="3900405"/>
              <a:ext cx="82953" cy="17936"/>
            </a:xfrm>
            <a:custGeom>
              <a:avLst/>
              <a:gdLst>
                <a:gd name="connsiteX0" fmla="*/ 7006 w 82953"/>
                <a:gd name="connsiteY0" fmla="*/ 7006 h 17935"/>
                <a:gd name="connsiteX1" fmla="*/ 76097 w 82953"/>
                <a:gd name="connsiteY1" fmla="*/ 7006 h 17935"/>
                <a:gd name="connsiteX2" fmla="*/ 76097 w 82953"/>
                <a:gd name="connsiteY2" fmla="*/ 12621 h 17935"/>
                <a:gd name="connsiteX3" fmla="*/ 7006 w 82953"/>
                <a:gd name="connsiteY3" fmla="*/ 12621 h 17935"/>
              </a:gdLst>
              <a:ahLst/>
              <a:cxnLst>
                <a:cxn ang="0">
                  <a:pos x="connsiteX0" y="connsiteY0"/>
                </a:cxn>
                <a:cxn ang="0">
                  <a:pos x="connsiteX1" y="connsiteY1"/>
                </a:cxn>
                <a:cxn ang="0">
                  <a:pos x="connsiteX2" y="connsiteY2"/>
                </a:cxn>
                <a:cxn ang="0">
                  <a:pos x="connsiteX3" y="connsiteY3"/>
                </a:cxn>
              </a:cxnLst>
              <a:rect l="l" t="t" r="r" b="b"/>
              <a:pathLst>
                <a:path w="82953" h="17935">
                  <a:moveTo>
                    <a:pt x="7006" y="7006"/>
                  </a:moveTo>
                  <a:lnTo>
                    <a:pt x="76097" y="7006"/>
                  </a:lnTo>
                  <a:lnTo>
                    <a:pt x="76097" y="12621"/>
                  </a:lnTo>
                  <a:lnTo>
                    <a:pt x="7006" y="1262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4" name="Freeform: Shape 13463">
              <a:extLst>
                <a:ext uri="{FF2B5EF4-FFF2-40B4-BE49-F238E27FC236}">
                  <a16:creationId xmlns:a16="http://schemas.microsoft.com/office/drawing/2014/main" id="{527F5270-17EA-4A81-91B1-234CA1785A2F}"/>
                </a:ext>
              </a:extLst>
            </p:cNvPr>
            <p:cNvSpPr/>
            <p:nvPr/>
          </p:nvSpPr>
          <p:spPr bwMode="ltGray">
            <a:xfrm>
              <a:off x="3525160" y="3900405"/>
              <a:ext cx="17936" cy="15694"/>
            </a:xfrm>
            <a:custGeom>
              <a:avLst/>
              <a:gdLst>
                <a:gd name="connsiteX0" fmla="*/ 7006 w 17935"/>
                <a:gd name="connsiteY0" fmla="*/ 10920 h 15693"/>
                <a:gd name="connsiteX1" fmla="*/ 7006 w 17935"/>
                <a:gd name="connsiteY1" fmla="*/ 7006 h 15693"/>
                <a:gd name="connsiteX2" fmla="*/ 10930 w 17935"/>
                <a:gd name="connsiteY2" fmla="*/ 7006 h 15693"/>
                <a:gd name="connsiteX3" fmla="*/ 7006 w 17935"/>
                <a:gd name="connsiteY3" fmla="*/ 10920 h 15693"/>
              </a:gdLst>
              <a:ahLst/>
              <a:cxnLst>
                <a:cxn ang="0">
                  <a:pos x="connsiteX0" y="connsiteY0"/>
                </a:cxn>
                <a:cxn ang="0">
                  <a:pos x="connsiteX1" y="connsiteY1"/>
                </a:cxn>
                <a:cxn ang="0">
                  <a:pos x="connsiteX2" y="connsiteY2"/>
                </a:cxn>
                <a:cxn ang="0">
                  <a:pos x="connsiteX3" y="connsiteY3"/>
                </a:cxn>
              </a:cxnLst>
              <a:rect l="l" t="t" r="r" b="b"/>
              <a:pathLst>
                <a:path w="17935" h="15693">
                  <a:moveTo>
                    <a:pt x="7006" y="10920"/>
                  </a:moveTo>
                  <a:lnTo>
                    <a:pt x="7006" y="7006"/>
                  </a:lnTo>
                  <a:lnTo>
                    <a:pt x="10930" y="7006"/>
                  </a:lnTo>
                  <a:lnTo>
                    <a:pt x="7006" y="1092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5" name="Freeform: Shape 13464">
              <a:extLst>
                <a:ext uri="{FF2B5EF4-FFF2-40B4-BE49-F238E27FC236}">
                  <a16:creationId xmlns:a16="http://schemas.microsoft.com/office/drawing/2014/main" id="{A9B7DD52-28F4-4CED-968C-19D7622DA990}"/>
                </a:ext>
              </a:extLst>
            </p:cNvPr>
            <p:cNvSpPr/>
            <p:nvPr/>
          </p:nvSpPr>
          <p:spPr bwMode="ltGray">
            <a:xfrm>
              <a:off x="-2860" y="3354424"/>
              <a:ext cx="2614156" cy="118825"/>
            </a:xfrm>
            <a:custGeom>
              <a:avLst/>
              <a:gdLst>
                <a:gd name="connsiteX0" fmla="*/ 2609132 w 2614156"/>
                <a:gd name="connsiteY0" fmla="*/ 111941 h 118825"/>
                <a:gd name="connsiteX1" fmla="*/ 2560444 w 2614156"/>
                <a:gd name="connsiteY1" fmla="*/ 111941 h 118825"/>
                <a:gd name="connsiteX2" fmla="*/ 2555175 w 2614156"/>
                <a:gd name="connsiteY2" fmla="*/ 106672 h 118825"/>
                <a:gd name="connsiteX3" fmla="*/ 2603864 w 2614156"/>
                <a:gd name="connsiteY3" fmla="*/ 106672 h 118825"/>
                <a:gd name="connsiteX4" fmla="*/ 2609132 w 2614156"/>
                <a:gd name="connsiteY4" fmla="*/ 111941 h 118825"/>
                <a:gd name="connsiteX5" fmla="*/ 2558837 w 2614156"/>
                <a:gd name="connsiteY5" fmla="*/ 61645 h 118825"/>
                <a:gd name="connsiteX6" fmla="*/ 2510149 w 2614156"/>
                <a:gd name="connsiteY6" fmla="*/ 61645 h 118825"/>
                <a:gd name="connsiteX7" fmla="*/ 2489943 w 2614156"/>
                <a:gd name="connsiteY7" fmla="*/ 41439 h 118825"/>
                <a:gd name="connsiteX8" fmla="*/ 1046168 w 2614156"/>
                <a:gd name="connsiteY8" fmla="*/ 41439 h 118825"/>
                <a:gd name="connsiteX9" fmla="*/ 1080592 w 2614156"/>
                <a:gd name="connsiteY9" fmla="*/ 7006 h 118825"/>
                <a:gd name="connsiteX10" fmla="*/ 2050905 w 2614156"/>
                <a:gd name="connsiteY10" fmla="*/ 7006 h 118825"/>
                <a:gd name="connsiteX11" fmla="*/ 2056996 w 2614156"/>
                <a:gd name="connsiteY11" fmla="*/ 17553 h 118825"/>
                <a:gd name="connsiteX12" fmla="*/ 2502526 w 2614156"/>
                <a:gd name="connsiteY12" fmla="*/ 17553 h 118825"/>
                <a:gd name="connsiteX13" fmla="*/ 2507000 w 2614156"/>
                <a:gd name="connsiteY13" fmla="*/ 9809 h 118825"/>
                <a:gd name="connsiteX14" fmla="*/ 2558837 w 2614156"/>
                <a:gd name="connsiteY14" fmla="*/ 61645 h 118825"/>
                <a:gd name="connsiteX15" fmla="*/ 966577 w 2614156"/>
                <a:gd name="connsiteY15" fmla="*/ 41439 h 118825"/>
                <a:gd name="connsiteX16" fmla="*/ 587588 w 2614156"/>
                <a:gd name="connsiteY16" fmla="*/ 41439 h 118825"/>
                <a:gd name="connsiteX17" fmla="*/ 553155 w 2614156"/>
                <a:gd name="connsiteY17" fmla="*/ 7006 h 118825"/>
                <a:gd name="connsiteX18" fmla="*/ 1001001 w 2614156"/>
                <a:gd name="connsiteY18" fmla="*/ 7006 h 118825"/>
                <a:gd name="connsiteX19" fmla="*/ 966577 w 2614156"/>
                <a:gd name="connsiteY19" fmla="*/ 41439 h 118825"/>
                <a:gd name="connsiteX20" fmla="*/ 579722 w 2614156"/>
                <a:gd name="connsiteY20" fmla="*/ 41439 h 118825"/>
                <a:gd name="connsiteX21" fmla="*/ 7006 w 2614156"/>
                <a:gd name="connsiteY21" fmla="*/ 41439 h 118825"/>
                <a:gd name="connsiteX22" fmla="*/ 7006 w 2614156"/>
                <a:gd name="connsiteY22" fmla="*/ 35452 h 118825"/>
                <a:gd name="connsiteX23" fmla="*/ 281799 w 2614156"/>
                <a:gd name="connsiteY23" fmla="*/ 35452 h 118825"/>
                <a:gd name="connsiteX24" fmla="*/ 310244 w 2614156"/>
                <a:gd name="connsiteY24" fmla="*/ 7006 h 118825"/>
                <a:gd name="connsiteX25" fmla="*/ 545289 w 2614156"/>
                <a:gd name="connsiteY25" fmla="*/ 7006 h 118825"/>
                <a:gd name="connsiteX26" fmla="*/ 579722 w 2614156"/>
                <a:gd name="connsiteY26" fmla="*/ 41439 h 118825"/>
                <a:gd name="connsiteX27" fmla="*/ 274812 w 2614156"/>
                <a:gd name="connsiteY27" fmla="*/ 18571 h 118825"/>
                <a:gd name="connsiteX28" fmla="*/ 7006 w 2614156"/>
                <a:gd name="connsiteY28" fmla="*/ 18571 h 118825"/>
                <a:gd name="connsiteX29" fmla="*/ 7006 w 2614156"/>
                <a:gd name="connsiteY29" fmla="*/ 11985 h 118825"/>
                <a:gd name="connsiteX30" fmla="*/ 124925 w 2614156"/>
                <a:gd name="connsiteY30" fmla="*/ 11985 h 118825"/>
                <a:gd name="connsiteX31" fmla="*/ 129905 w 2614156"/>
                <a:gd name="connsiteY31" fmla="*/ 7006 h 118825"/>
                <a:gd name="connsiteX32" fmla="*/ 286367 w 2614156"/>
                <a:gd name="connsiteY32" fmla="*/ 7006 h 118825"/>
                <a:gd name="connsiteX33" fmla="*/ 274812 w 2614156"/>
                <a:gd name="connsiteY33" fmla="*/ 18571 h 118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614156" h="118825">
                  <a:moveTo>
                    <a:pt x="2609132" y="111941"/>
                  </a:moveTo>
                  <a:lnTo>
                    <a:pt x="2560444" y="111941"/>
                  </a:lnTo>
                  <a:lnTo>
                    <a:pt x="2555175" y="106672"/>
                  </a:lnTo>
                  <a:lnTo>
                    <a:pt x="2603864" y="106672"/>
                  </a:lnTo>
                  <a:lnTo>
                    <a:pt x="2609132" y="111941"/>
                  </a:lnTo>
                  <a:close/>
                  <a:moveTo>
                    <a:pt x="2558837" y="61645"/>
                  </a:moveTo>
                  <a:lnTo>
                    <a:pt x="2510149" y="61645"/>
                  </a:lnTo>
                  <a:lnTo>
                    <a:pt x="2489943" y="41439"/>
                  </a:lnTo>
                  <a:lnTo>
                    <a:pt x="1046168" y="41439"/>
                  </a:lnTo>
                  <a:lnTo>
                    <a:pt x="1080592" y="7006"/>
                  </a:lnTo>
                  <a:lnTo>
                    <a:pt x="2050905" y="7006"/>
                  </a:lnTo>
                  <a:lnTo>
                    <a:pt x="2056996" y="17553"/>
                  </a:lnTo>
                  <a:lnTo>
                    <a:pt x="2502526" y="17553"/>
                  </a:lnTo>
                  <a:lnTo>
                    <a:pt x="2507000" y="9809"/>
                  </a:lnTo>
                  <a:lnTo>
                    <a:pt x="2558837" y="61645"/>
                  </a:lnTo>
                  <a:close/>
                  <a:moveTo>
                    <a:pt x="966577" y="41439"/>
                  </a:moveTo>
                  <a:lnTo>
                    <a:pt x="587588" y="41439"/>
                  </a:lnTo>
                  <a:lnTo>
                    <a:pt x="553155" y="7006"/>
                  </a:lnTo>
                  <a:lnTo>
                    <a:pt x="1001001" y="7006"/>
                  </a:lnTo>
                  <a:lnTo>
                    <a:pt x="966577" y="41439"/>
                  </a:lnTo>
                  <a:close/>
                  <a:moveTo>
                    <a:pt x="579722" y="41439"/>
                  </a:moveTo>
                  <a:lnTo>
                    <a:pt x="7006" y="41439"/>
                  </a:lnTo>
                  <a:lnTo>
                    <a:pt x="7006" y="35452"/>
                  </a:lnTo>
                  <a:lnTo>
                    <a:pt x="281799" y="35452"/>
                  </a:lnTo>
                  <a:lnTo>
                    <a:pt x="310244" y="7006"/>
                  </a:lnTo>
                  <a:lnTo>
                    <a:pt x="545289" y="7006"/>
                  </a:lnTo>
                  <a:lnTo>
                    <a:pt x="579722" y="41439"/>
                  </a:lnTo>
                  <a:close/>
                  <a:moveTo>
                    <a:pt x="274812" y="18571"/>
                  </a:moveTo>
                  <a:lnTo>
                    <a:pt x="7006" y="18571"/>
                  </a:lnTo>
                  <a:lnTo>
                    <a:pt x="7006" y="11985"/>
                  </a:lnTo>
                  <a:lnTo>
                    <a:pt x="124925" y="11985"/>
                  </a:lnTo>
                  <a:lnTo>
                    <a:pt x="129905" y="7006"/>
                  </a:lnTo>
                  <a:lnTo>
                    <a:pt x="286367" y="7006"/>
                  </a:lnTo>
                  <a:lnTo>
                    <a:pt x="274812" y="18571"/>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6" name="Freeform: Shape 13465">
              <a:extLst>
                <a:ext uri="{FF2B5EF4-FFF2-40B4-BE49-F238E27FC236}">
                  <a16:creationId xmlns:a16="http://schemas.microsoft.com/office/drawing/2014/main" id="{D5AD8269-2533-49EF-8227-3EF40B1E2621}"/>
                </a:ext>
              </a:extLst>
            </p:cNvPr>
            <p:cNvSpPr/>
            <p:nvPr/>
          </p:nvSpPr>
          <p:spPr bwMode="ltGray">
            <a:xfrm>
              <a:off x="2041039" y="3354424"/>
              <a:ext cx="468575" cy="22420"/>
            </a:xfrm>
            <a:custGeom>
              <a:avLst/>
              <a:gdLst>
                <a:gd name="connsiteX0" fmla="*/ 458627 w 468575"/>
                <a:gd name="connsiteY0" fmla="*/ 17553 h 22419"/>
                <a:gd name="connsiteX1" fmla="*/ 13097 w 468575"/>
                <a:gd name="connsiteY1" fmla="*/ 17553 h 22419"/>
                <a:gd name="connsiteX2" fmla="*/ 7006 w 468575"/>
                <a:gd name="connsiteY2" fmla="*/ 7006 h 22419"/>
                <a:gd name="connsiteX3" fmla="*/ 460308 w 468575"/>
                <a:gd name="connsiteY3" fmla="*/ 7006 h 22419"/>
                <a:gd name="connsiteX4" fmla="*/ 463101 w 468575"/>
                <a:gd name="connsiteY4" fmla="*/ 9809 h 22419"/>
                <a:gd name="connsiteX5" fmla="*/ 458627 w 468575"/>
                <a:gd name="connsiteY5" fmla="*/ 17553 h 2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8575" h="22419">
                  <a:moveTo>
                    <a:pt x="458627" y="17553"/>
                  </a:moveTo>
                  <a:lnTo>
                    <a:pt x="13097" y="17553"/>
                  </a:lnTo>
                  <a:lnTo>
                    <a:pt x="7006" y="7006"/>
                  </a:lnTo>
                  <a:lnTo>
                    <a:pt x="460308" y="7006"/>
                  </a:lnTo>
                  <a:lnTo>
                    <a:pt x="463101" y="9809"/>
                  </a:lnTo>
                  <a:lnTo>
                    <a:pt x="458627" y="1755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7" name="Freeform: Shape 13466">
              <a:extLst>
                <a:ext uri="{FF2B5EF4-FFF2-40B4-BE49-F238E27FC236}">
                  <a16:creationId xmlns:a16="http://schemas.microsoft.com/office/drawing/2014/main" id="{92F902B6-2D98-4F78-B405-CE35E3DA21C7}"/>
                </a:ext>
              </a:extLst>
            </p:cNvPr>
            <p:cNvSpPr/>
            <p:nvPr/>
          </p:nvSpPr>
          <p:spPr bwMode="ltGray">
            <a:xfrm>
              <a:off x="-2860" y="3354424"/>
              <a:ext cx="136761" cy="17936"/>
            </a:xfrm>
            <a:custGeom>
              <a:avLst/>
              <a:gdLst>
                <a:gd name="connsiteX0" fmla="*/ 124925 w 136761"/>
                <a:gd name="connsiteY0" fmla="*/ 11985 h 17935"/>
                <a:gd name="connsiteX1" fmla="*/ 7006 w 136761"/>
                <a:gd name="connsiteY1" fmla="*/ 11985 h 17935"/>
                <a:gd name="connsiteX2" fmla="*/ 7006 w 136761"/>
                <a:gd name="connsiteY2" fmla="*/ 7006 h 17935"/>
                <a:gd name="connsiteX3" fmla="*/ 129905 w 136761"/>
                <a:gd name="connsiteY3" fmla="*/ 7006 h 17935"/>
                <a:gd name="connsiteX4" fmla="*/ 124925 w 136761"/>
                <a:gd name="connsiteY4" fmla="*/ 11985 h 17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761" h="17935">
                  <a:moveTo>
                    <a:pt x="124925" y="11985"/>
                  </a:moveTo>
                  <a:lnTo>
                    <a:pt x="7006" y="11985"/>
                  </a:lnTo>
                  <a:lnTo>
                    <a:pt x="7006" y="7006"/>
                  </a:lnTo>
                  <a:lnTo>
                    <a:pt x="129905" y="7006"/>
                  </a:lnTo>
                  <a:lnTo>
                    <a:pt x="124925" y="11985"/>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8" name="Freeform: Shape 13467">
              <a:extLst>
                <a:ext uri="{FF2B5EF4-FFF2-40B4-BE49-F238E27FC236}">
                  <a16:creationId xmlns:a16="http://schemas.microsoft.com/office/drawing/2014/main" id="{54BA0D31-56C0-40AC-8A4D-BF4D4678497D}"/>
                </a:ext>
              </a:extLst>
            </p:cNvPr>
            <p:cNvSpPr/>
            <p:nvPr/>
          </p:nvSpPr>
          <p:spPr bwMode="ltGray">
            <a:xfrm>
              <a:off x="535422" y="3354424"/>
              <a:ext cx="56050" cy="47082"/>
            </a:xfrm>
            <a:custGeom>
              <a:avLst/>
              <a:gdLst>
                <a:gd name="connsiteX0" fmla="*/ 49305 w 56049"/>
                <a:gd name="connsiteY0" fmla="*/ 41439 h 47081"/>
                <a:gd name="connsiteX1" fmla="*/ 41439 w 56049"/>
                <a:gd name="connsiteY1" fmla="*/ 41439 h 47081"/>
                <a:gd name="connsiteX2" fmla="*/ 7006 w 56049"/>
                <a:gd name="connsiteY2" fmla="*/ 7006 h 47081"/>
                <a:gd name="connsiteX3" fmla="*/ 14872 w 56049"/>
                <a:gd name="connsiteY3" fmla="*/ 7006 h 47081"/>
                <a:gd name="connsiteX4" fmla="*/ 49305 w 56049"/>
                <a:gd name="connsiteY4" fmla="*/ 41439 h 47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49" h="47081">
                  <a:moveTo>
                    <a:pt x="49305" y="41439"/>
                  </a:moveTo>
                  <a:lnTo>
                    <a:pt x="41439" y="41439"/>
                  </a:lnTo>
                  <a:lnTo>
                    <a:pt x="7006" y="7006"/>
                  </a:lnTo>
                  <a:lnTo>
                    <a:pt x="14872" y="7006"/>
                  </a:lnTo>
                  <a:lnTo>
                    <a:pt x="49305" y="414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69" name="Freeform: Shape 13468">
              <a:extLst>
                <a:ext uri="{FF2B5EF4-FFF2-40B4-BE49-F238E27FC236}">
                  <a16:creationId xmlns:a16="http://schemas.microsoft.com/office/drawing/2014/main" id="{03C518BC-9E88-45E6-A567-A3E9AF006A3F}"/>
                </a:ext>
              </a:extLst>
            </p:cNvPr>
            <p:cNvSpPr/>
            <p:nvPr/>
          </p:nvSpPr>
          <p:spPr bwMode="ltGray">
            <a:xfrm>
              <a:off x="956711" y="3354424"/>
              <a:ext cx="127793" cy="47082"/>
            </a:xfrm>
            <a:custGeom>
              <a:avLst/>
              <a:gdLst>
                <a:gd name="connsiteX0" fmla="*/ 86597 w 127793"/>
                <a:gd name="connsiteY0" fmla="*/ 41439 h 47081"/>
                <a:gd name="connsiteX1" fmla="*/ 7006 w 127793"/>
                <a:gd name="connsiteY1" fmla="*/ 41439 h 47081"/>
                <a:gd name="connsiteX2" fmla="*/ 41430 w 127793"/>
                <a:gd name="connsiteY2" fmla="*/ 7006 h 47081"/>
                <a:gd name="connsiteX3" fmla="*/ 121021 w 127793"/>
                <a:gd name="connsiteY3" fmla="*/ 7006 h 47081"/>
                <a:gd name="connsiteX4" fmla="*/ 86597 w 127793"/>
                <a:gd name="connsiteY4" fmla="*/ 41439 h 47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793" h="47081">
                  <a:moveTo>
                    <a:pt x="86597" y="41439"/>
                  </a:moveTo>
                  <a:lnTo>
                    <a:pt x="7006" y="41439"/>
                  </a:lnTo>
                  <a:lnTo>
                    <a:pt x="41430" y="7006"/>
                  </a:lnTo>
                  <a:lnTo>
                    <a:pt x="121021" y="7006"/>
                  </a:lnTo>
                  <a:lnTo>
                    <a:pt x="86597" y="414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0" name="Freeform: Shape 13469">
              <a:extLst>
                <a:ext uri="{FF2B5EF4-FFF2-40B4-BE49-F238E27FC236}">
                  <a16:creationId xmlns:a16="http://schemas.microsoft.com/office/drawing/2014/main" id="{1F79229C-4608-43BA-821B-FD7D78D995F7}"/>
                </a:ext>
              </a:extLst>
            </p:cNvPr>
            <p:cNvSpPr/>
            <p:nvPr/>
          </p:nvSpPr>
          <p:spPr bwMode="ltGray">
            <a:xfrm>
              <a:off x="2500282" y="3409063"/>
              <a:ext cx="107615" cy="58292"/>
            </a:xfrm>
            <a:custGeom>
              <a:avLst/>
              <a:gdLst>
                <a:gd name="connsiteX0" fmla="*/ 100721 w 107615"/>
                <a:gd name="connsiteY0" fmla="*/ 52033 h 58291"/>
                <a:gd name="connsiteX1" fmla="*/ 52033 w 107615"/>
                <a:gd name="connsiteY1" fmla="*/ 52033 h 58291"/>
                <a:gd name="connsiteX2" fmla="*/ 7006 w 107615"/>
                <a:gd name="connsiteY2" fmla="*/ 7006 h 58291"/>
                <a:gd name="connsiteX3" fmla="*/ 55695 w 107615"/>
                <a:gd name="connsiteY3" fmla="*/ 7006 h 58291"/>
                <a:gd name="connsiteX4" fmla="*/ 100721 w 107615"/>
                <a:gd name="connsiteY4" fmla="*/ 52033 h 58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615" h="58291">
                  <a:moveTo>
                    <a:pt x="100721" y="52033"/>
                  </a:moveTo>
                  <a:lnTo>
                    <a:pt x="52033" y="52033"/>
                  </a:lnTo>
                  <a:lnTo>
                    <a:pt x="7006" y="7006"/>
                  </a:lnTo>
                  <a:lnTo>
                    <a:pt x="55695" y="7006"/>
                  </a:lnTo>
                  <a:lnTo>
                    <a:pt x="100721" y="5203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1" name="Freeform: Shape 13470">
              <a:extLst>
                <a:ext uri="{FF2B5EF4-FFF2-40B4-BE49-F238E27FC236}">
                  <a16:creationId xmlns:a16="http://schemas.microsoft.com/office/drawing/2014/main" id="{BF707F24-6E71-4B23-A0B6-6A49641E62C0}"/>
                </a:ext>
              </a:extLst>
            </p:cNvPr>
            <p:cNvSpPr/>
            <p:nvPr/>
          </p:nvSpPr>
          <p:spPr bwMode="ltGray">
            <a:xfrm>
              <a:off x="-2860" y="3354424"/>
              <a:ext cx="316120" cy="40356"/>
            </a:xfrm>
            <a:custGeom>
              <a:avLst/>
              <a:gdLst>
                <a:gd name="connsiteX0" fmla="*/ 281799 w 316120"/>
                <a:gd name="connsiteY0" fmla="*/ 35452 h 40355"/>
                <a:gd name="connsiteX1" fmla="*/ 7006 w 316120"/>
                <a:gd name="connsiteY1" fmla="*/ 35452 h 40355"/>
                <a:gd name="connsiteX2" fmla="*/ 7006 w 316120"/>
                <a:gd name="connsiteY2" fmla="*/ 18571 h 40355"/>
                <a:gd name="connsiteX3" fmla="*/ 274812 w 316120"/>
                <a:gd name="connsiteY3" fmla="*/ 18571 h 40355"/>
                <a:gd name="connsiteX4" fmla="*/ 286367 w 316120"/>
                <a:gd name="connsiteY4" fmla="*/ 7006 h 40355"/>
                <a:gd name="connsiteX5" fmla="*/ 310244 w 316120"/>
                <a:gd name="connsiteY5" fmla="*/ 7006 h 40355"/>
                <a:gd name="connsiteX6" fmla="*/ 281799 w 316120"/>
                <a:gd name="connsiteY6" fmla="*/ 35452 h 4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120" h="40355">
                  <a:moveTo>
                    <a:pt x="281799" y="35452"/>
                  </a:moveTo>
                  <a:lnTo>
                    <a:pt x="7006" y="35452"/>
                  </a:lnTo>
                  <a:lnTo>
                    <a:pt x="7006" y="18571"/>
                  </a:lnTo>
                  <a:lnTo>
                    <a:pt x="274812" y="18571"/>
                  </a:lnTo>
                  <a:lnTo>
                    <a:pt x="286367" y="7006"/>
                  </a:lnTo>
                  <a:lnTo>
                    <a:pt x="310244" y="7006"/>
                  </a:lnTo>
                  <a:lnTo>
                    <a:pt x="281799" y="3545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2" name="Freeform: Shape 13471">
              <a:extLst>
                <a:ext uri="{FF2B5EF4-FFF2-40B4-BE49-F238E27FC236}">
                  <a16:creationId xmlns:a16="http://schemas.microsoft.com/office/drawing/2014/main" id="{DAC841DA-4F09-44FF-ACB9-91B3235B7415}"/>
                </a:ext>
              </a:extLst>
            </p:cNvPr>
            <p:cNvSpPr/>
            <p:nvPr/>
          </p:nvSpPr>
          <p:spPr bwMode="ltGray">
            <a:xfrm>
              <a:off x="-2860" y="3181689"/>
              <a:ext cx="3295720" cy="145729"/>
            </a:xfrm>
            <a:custGeom>
              <a:avLst/>
              <a:gdLst>
                <a:gd name="connsiteX0" fmla="*/ 3158345 w 3295719"/>
                <a:gd name="connsiteY0" fmla="*/ 139302 h 145729"/>
                <a:gd name="connsiteX1" fmla="*/ 3130647 w 3295719"/>
                <a:gd name="connsiteY1" fmla="*/ 139302 h 145729"/>
                <a:gd name="connsiteX2" fmla="*/ 3167369 w 3295719"/>
                <a:gd name="connsiteY2" fmla="*/ 102590 h 145729"/>
                <a:gd name="connsiteX3" fmla="*/ 3195067 w 3295719"/>
                <a:gd name="connsiteY3" fmla="*/ 102590 h 145729"/>
                <a:gd name="connsiteX4" fmla="*/ 3158345 w 3295719"/>
                <a:gd name="connsiteY4" fmla="*/ 139302 h 145729"/>
                <a:gd name="connsiteX5" fmla="*/ 3114729 w 3295719"/>
                <a:gd name="connsiteY5" fmla="*/ 139302 h 145729"/>
                <a:gd name="connsiteX6" fmla="*/ 2826278 w 3295719"/>
                <a:gd name="connsiteY6" fmla="*/ 139302 h 145729"/>
                <a:gd name="connsiteX7" fmla="*/ 2745128 w 3295719"/>
                <a:gd name="connsiteY7" fmla="*/ 139302 h 145729"/>
                <a:gd name="connsiteX8" fmla="*/ 2531961 w 3295719"/>
                <a:gd name="connsiteY8" fmla="*/ 139302 h 145729"/>
                <a:gd name="connsiteX9" fmla="*/ 2551840 w 3295719"/>
                <a:gd name="connsiteY9" fmla="*/ 104879 h 145729"/>
                <a:gd name="connsiteX10" fmla="*/ 3144089 w 3295719"/>
                <a:gd name="connsiteY10" fmla="*/ 104879 h 145729"/>
                <a:gd name="connsiteX11" fmla="*/ 3172778 w 3295719"/>
                <a:gd name="connsiteY11" fmla="*/ 76190 h 145729"/>
                <a:gd name="connsiteX12" fmla="*/ 3195730 w 3295719"/>
                <a:gd name="connsiteY12" fmla="*/ 53229 h 145729"/>
                <a:gd name="connsiteX13" fmla="*/ 3238552 w 3295719"/>
                <a:gd name="connsiteY13" fmla="*/ 10407 h 145729"/>
                <a:gd name="connsiteX14" fmla="*/ 3241962 w 3295719"/>
                <a:gd name="connsiteY14" fmla="*/ 7006 h 145729"/>
                <a:gd name="connsiteX15" fmla="*/ 3290641 w 3295719"/>
                <a:gd name="connsiteY15" fmla="*/ 7006 h 145729"/>
                <a:gd name="connsiteX16" fmla="*/ 3287240 w 3295719"/>
                <a:gd name="connsiteY16" fmla="*/ 10407 h 145729"/>
                <a:gd name="connsiteX17" fmla="*/ 3244419 w 3295719"/>
                <a:gd name="connsiteY17" fmla="*/ 53229 h 145729"/>
                <a:gd name="connsiteX18" fmla="*/ 3221457 w 3295719"/>
                <a:gd name="connsiteY18" fmla="*/ 76190 h 145729"/>
                <a:gd name="connsiteX19" fmla="*/ 3206323 w 3295719"/>
                <a:gd name="connsiteY19" fmla="*/ 91333 h 145729"/>
                <a:gd name="connsiteX20" fmla="*/ 3162707 w 3295719"/>
                <a:gd name="connsiteY20" fmla="*/ 91333 h 145729"/>
                <a:gd name="connsiteX21" fmla="*/ 3114729 w 3295719"/>
                <a:gd name="connsiteY21" fmla="*/ 139302 h 145729"/>
                <a:gd name="connsiteX22" fmla="*/ 2512699 w 3295719"/>
                <a:gd name="connsiteY22" fmla="*/ 139302 h 145729"/>
                <a:gd name="connsiteX23" fmla="*/ 2046823 w 3295719"/>
                <a:gd name="connsiteY23" fmla="*/ 139302 h 145729"/>
                <a:gd name="connsiteX24" fmla="*/ 2026944 w 3295719"/>
                <a:gd name="connsiteY24" fmla="*/ 104879 h 145729"/>
                <a:gd name="connsiteX25" fmla="*/ 2532568 w 3295719"/>
                <a:gd name="connsiteY25" fmla="*/ 104879 h 145729"/>
                <a:gd name="connsiteX26" fmla="*/ 2512699 w 3295719"/>
                <a:gd name="connsiteY26" fmla="*/ 139302 h 145729"/>
                <a:gd name="connsiteX27" fmla="*/ 2027561 w 3295719"/>
                <a:gd name="connsiteY27" fmla="*/ 139302 h 145729"/>
                <a:gd name="connsiteX28" fmla="*/ 1121031 w 3295719"/>
                <a:gd name="connsiteY28" fmla="*/ 139302 h 145729"/>
                <a:gd name="connsiteX29" fmla="*/ 1155465 w 3295719"/>
                <a:gd name="connsiteY29" fmla="*/ 104879 h 145729"/>
                <a:gd name="connsiteX30" fmla="*/ 2007682 w 3295719"/>
                <a:gd name="connsiteY30" fmla="*/ 104879 h 145729"/>
                <a:gd name="connsiteX31" fmla="*/ 2027561 w 3295719"/>
                <a:gd name="connsiteY31" fmla="*/ 139302 h 145729"/>
                <a:gd name="connsiteX32" fmla="*/ 1041441 w 3295719"/>
                <a:gd name="connsiteY32" fmla="*/ 139302 h 145729"/>
                <a:gd name="connsiteX33" fmla="*/ 512715 w 3295719"/>
                <a:gd name="connsiteY33" fmla="*/ 139302 h 145729"/>
                <a:gd name="connsiteX34" fmla="*/ 497180 w 3295719"/>
                <a:gd name="connsiteY34" fmla="*/ 123767 h 145729"/>
                <a:gd name="connsiteX35" fmla="*/ 1030399 w 3295719"/>
                <a:gd name="connsiteY35" fmla="*/ 123767 h 145729"/>
                <a:gd name="connsiteX36" fmla="*/ 1030399 w 3295719"/>
                <a:gd name="connsiteY36" fmla="*/ 106878 h 145729"/>
                <a:gd name="connsiteX37" fmla="*/ 480290 w 3295719"/>
                <a:gd name="connsiteY37" fmla="*/ 106878 h 145729"/>
                <a:gd name="connsiteX38" fmla="*/ 478291 w 3295719"/>
                <a:gd name="connsiteY38" fmla="*/ 104879 h 145729"/>
                <a:gd name="connsiteX39" fmla="*/ 1075865 w 3295719"/>
                <a:gd name="connsiteY39" fmla="*/ 104879 h 145729"/>
                <a:gd name="connsiteX40" fmla="*/ 1041441 w 3295719"/>
                <a:gd name="connsiteY40" fmla="*/ 139302 h 145729"/>
                <a:gd name="connsiteX41" fmla="*/ 504849 w 3295719"/>
                <a:gd name="connsiteY41" fmla="*/ 139302 h 145729"/>
                <a:gd name="connsiteX42" fmla="*/ 350684 w 3295719"/>
                <a:gd name="connsiteY42" fmla="*/ 139302 h 145729"/>
                <a:gd name="connsiteX43" fmla="*/ 366219 w 3295719"/>
                <a:gd name="connsiteY43" fmla="*/ 123767 h 145729"/>
                <a:gd name="connsiteX44" fmla="*/ 489314 w 3295719"/>
                <a:gd name="connsiteY44" fmla="*/ 123767 h 145729"/>
                <a:gd name="connsiteX45" fmla="*/ 504849 w 3295719"/>
                <a:gd name="connsiteY45" fmla="*/ 139302 h 145729"/>
                <a:gd name="connsiteX46" fmla="*/ 326807 w 3295719"/>
                <a:gd name="connsiteY46" fmla="*/ 139302 h 145729"/>
                <a:gd name="connsiteX47" fmla="*/ 170354 w 3295719"/>
                <a:gd name="connsiteY47" fmla="*/ 139302 h 145729"/>
                <a:gd name="connsiteX48" fmla="*/ 204778 w 3295719"/>
                <a:gd name="connsiteY48" fmla="*/ 104879 h 145729"/>
                <a:gd name="connsiteX49" fmla="*/ 470416 w 3295719"/>
                <a:gd name="connsiteY49" fmla="*/ 104879 h 145729"/>
                <a:gd name="connsiteX50" fmla="*/ 472424 w 3295719"/>
                <a:gd name="connsiteY50" fmla="*/ 106878 h 145729"/>
                <a:gd name="connsiteX51" fmla="*/ 359232 w 3295719"/>
                <a:gd name="connsiteY51" fmla="*/ 106878 h 145729"/>
                <a:gd name="connsiteX52" fmla="*/ 326807 w 3295719"/>
                <a:gd name="connsiteY52" fmla="*/ 139302 h 145729"/>
                <a:gd name="connsiteX53" fmla="*/ 162479 w 3295719"/>
                <a:gd name="connsiteY53" fmla="*/ 139302 h 145729"/>
                <a:gd name="connsiteX54" fmla="*/ 7006 w 3295719"/>
                <a:gd name="connsiteY54" fmla="*/ 139302 h 145729"/>
                <a:gd name="connsiteX55" fmla="*/ 7006 w 3295719"/>
                <a:gd name="connsiteY55" fmla="*/ 104879 h 145729"/>
                <a:gd name="connsiteX56" fmla="*/ 196912 w 3295719"/>
                <a:gd name="connsiteY56" fmla="*/ 104879 h 145729"/>
                <a:gd name="connsiteX57" fmla="*/ 162479 w 3295719"/>
                <a:gd name="connsiteY57" fmla="*/ 139302 h 145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295719" h="145729">
                  <a:moveTo>
                    <a:pt x="3158345" y="139302"/>
                  </a:moveTo>
                  <a:lnTo>
                    <a:pt x="3130647" y="139302"/>
                  </a:lnTo>
                  <a:lnTo>
                    <a:pt x="3167369" y="102590"/>
                  </a:lnTo>
                  <a:lnTo>
                    <a:pt x="3195067" y="102590"/>
                  </a:lnTo>
                  <a:lnTo>
                    <a:pt x="3158345" y="139302"/>
                  </a:lnTo>
                  <a:close/>
                  <a:moveTo>
                    <a:pt x="3114729" y="139302"/>
                  </a:moveTo>
                  <a:lnTo>
                    <a:pt x="2826278" y="139302"/>
                  </a:lnTo>
                  <a:lnTo>
                    <a:pt x="2745128" y="139302"/>
                  </a:lnTo>
                  <a:lnTo>
                    <a:pt x="2531961" y="139302"/>
                  </a:lnTo>
                  <a:lnTo>
                    <a:pt x="2551840" y="104879"/>
                  </a:lnTo>
                  <a:lnTo>
                    <a:pt x="3144089" y="104879"/>
                  </a:lnTo>
                  <a:lnTo>
                    <a:pt x="3172778" y="76190"/>
                  </a:lnTo>
                  <a:lnTo>
                    <a:pt x="3195730" y="53229"/>
                  </a:lnTo>
                  <a:lnTo>
                    <a:pt x="3238552" y="10407"/>
                  </a:lnTo>
                  <a:lnTo>
                    <a:pt x="3241962" y="7006"/>
                  </a:lnTo>
                  <a:lnTo>
                    <a:pt x="3290641" y="7006"/>
                  </a:lnTo>
                  <a:lnTo>
                    <a:pt x="3287240" y="10407"/>
                  </a:lnTo>
                  <a:lnTo>
                    <a:pt x="3244419" y="53229"/>
                  </a:lnTo>
                  <a:lnTo>
                    <a:pt x="3221457" y="76190"/>
                  </a:lnTo>
                  <a:lnTo>
                    <a:pt x="3206323" y="91333"/>
                  </a:lnTo>
                  <a:lnTo>
                    <a:pt x="3162707" y="91333"/>
                  </a:lnTo>
                  <a:lnTo>
                    <a:pt x="3114729" y="139302"/>
                  </a:lnTo>
                  <a:close/>
                  <a:moveTo>
                    <a:pt x="2512699" y="139302"/>
                  </a:moveTo>
                  <a:lnTo>
                    <a:pt x="2046823" y="139302"/>
                  </a:lnTo>
                  <a:lnTo>
                    <a:pt x="2026944" y="104879"/>
                  </a:lnTo>
                  <a:lnTo>
                    <a:pt x="2532568" y="104879"/>
                  </a:lnTo>
                  <a:lnTo>
                    <a:pt x="2512699" y="139302"/>
                  </a:lnTo>
                  <a:close/>
                  <a:moveTo>
                    <a:pt x="2027561" y="139302"/>
                  </a:moveTo>
                  <a:lnTo>
                    <a:pt x="1121031" y="139302"/>
                  </a:lnTo>
                  <a:lnTo>
                    <a:pt x="1155465" y="104879"/>
                  </a:lnTo>
                  <a:lnTo>
                    <a:pt x="2007682" y="104879"/>
                  </a:lnTo>
                  <a:lnTo>
                    <a:pt x="2027561" y="139302"/>
                  </a:lnTo>
                  <a:close/>
                  <a:moveTo>
                    <a:pt x="1041441" y="139302"/>
                  </a:moveTo>
                  <a:lnTo>
                    <a:pt x="512715" y="139302"/>
                  </a:lnTo>
                  <a:lnTo>
                    <a:pt x="497180" y="123767"/>
                  </a:lnTo>
                  <a:lnTo>
                    <a:pt x="1030399" y="123767"/>
                  </a:lnTo>
                  <a:lnTo>
                    <a:pt x="1030399" y="106878"/>
                  </a:lnTo>
                  <a:lnTo>
                    <a:pt x="480290" y="106878"/>
                  </a:lnTo>
                  <a:lnTo>
                    <a:pt x="478291" y="104879"/>
                  </a:lnTo>
                  <a:lnTo>
                    <a:pt x="1075865" y="104879"/>
                  </a:lnTo>
                  <a:lnTo>
                    <a:pt x="1041441" y="139302"/>
                  </a:lnTo>
                  <a:close/>
                  <a:moveTo>
                    <a:pt x="504849" y="139302"/>
                  </a:moveTo>
                  <a:lnTo>
                    <a:pt x="350684" y="139302"/>
                  </a:lnTo>
                  <a:lnTo>
                    <a:pt x="366219" y="123767"/>
                  </a:lnTo>
                  <a:lnTo>
                    <a:pt x="489314" y="123767"/>
                  </a:lnTo>
                  <a:lnTo>
                    <a:pt x="504849" y="139302"/>
                  </a:lnTo>
                  <a:close/>
                  <a:moveTo>
                    <a:pt x="326807" y="139302"/>
                  </a:moveTo>
                  <a:lnTo>
                    <a:pt x="170354" y="139302"/>
                  </a:lnTo>
                  <a:lnTo>
                    <a:pt x="204778" y="104879"/>
                  </a:lnTo>
                  <a:lnTo>
                    <a:pt x="470416" y="104879"/>
                  </a:lnTo>
                  <a:lnTo>
                    <a:pt x="472424" y="106878"/>
                  </a:lnTo>
                  <a:lnTo>
                    <a:pt x="359232" y="106878"/>
                  </a:lnTo>
                  <a:lnTo>
                    <a:pt x="326807" y="139302"/>
                  </a:lnTo>
                  <a:close/>
                  <a:moveTo>
                    <a:pt x="162479" y="139302"/>
                  </a:moveTo>
                  <a:lnTo>
                    <a:pt x="7006" y="139302"/>
                  </a:lnTo>
                  <a:lnTo>
                    <a:pt x="7006" y="104879"/>
                  </a:lnTo>
                  <a:lnTo>
                    <a:pt x="196912" y="104879"/>
                  </a:lnTo>
                  <a:lnTo>
                    <a:pt x="162479" y="139302"/>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3" name="Freeform: Shape 13472">
              <a:extLst>
                <a:ext uri="{FF2B5EF4-FFF2-40B4-BE49-F238E27FC236}">
                  <a16:creationId xmlns:a16="http://schemas.microsoft.com/office/drawing/2014/main" id="{31AA7E66-E5CF-46A1-A4EE-976E4604AFF3}"/>
                </a:ext>
              </a:extLst>
            </p:cNvPr>
            <p:cNvSpPr/>
            <p:nvPr/>
          </p:nvSpPr>
          <p:spPr bwMode="ltGray">
            <a:xfrm>
              <a:off x="1997815" y="3279561"/>
              <a:ext cx="556013" cy="47082"/>
            </a:xfrm>
            <a:custGeom>
              <a:avLst/>
              <a:gdLst>
                <a:gd name="connsiteX0" fmla="*/ 531286 w 556012"/>
                <a:gd name="connsiteY0" fmla="*/ 41430 h 47081"/>
                <a:gd name="connsiteX1" fmla="*/ 512023 w 556012"/>
                <a:gd name="connsiteY1" fmla="*/ 41430 h 47081"/>
                <a:gd name="connsiteX2" fmla="*/ 531893 w 556012"/>
                <a:gd name="connsiteY2" fmla="*/ 7006 h 47081"/>
                <a:gd name="connsiteX3" fmla="*/ 551165 w 556012"/>
                <a:gd name="connsiteY3" fmla="*/ 7006 h 47081"/>
                <a:gd name="connsiteX4" fmla="*/ 531286 w 556012"/>
                <a:gd name="connsiteY4" fmla="*/ 41430 h 47081"/>
                <a:gd name="connsiteX5" fmla="*/ 46148 w 556012"/>
                <a:gd name="connsiteY5" fmla="*/ 41430 h 47081"/>
                <a:gd name="connsiteX6" fmla="*/ 26885 w 556012"/>
                <a:gd name="connsiteY6" fmla="*/ 41430 h 47081"/>
                <a:gd name="connsiteX7" fmla="*/ 7006 w 556012"/>
                <a:gd name="connsiteY7" fmla="*/ 7006 h 47081"/>
                <a:gd name="connsiteX8" fmla="*/ 26269 w 556012"/>
                <a:gd name="connsiteY8" fmla="*/ 7006 h 47081"/>
                <a:gd name="connsiteX9" fmla="*/ 46148 w 556012"/>
                <a:gd name="connsiteY9" fmla="*/ 41430 h 47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6012" h="47081">
                  <a:moveTo>
                    <a:pt x="531286" y="41430"/>
                  </a:moveTo>
                  <a:lnTo>
                    <a:pt x="512023" y="41430"/>
                  </a:lnTo>
                  <a:lnTo>
                    <a:pt x="531893" y="7006"/>
                  </a:lnTo>
                  <a:lnTo>
                    <a:pt x="551165" y="7006"/>
                  </a:lnTo>
                  <a:lnTo>
                    <a:pt x="531286" y="41430"/>
                  </a:lnTo>
                  <a:close/>
                  <a:moveTo>
                    <a:pt x="46148" y="41430"/>
                  </a:moveTo>
                  <a:lnTo>
                    <a:pt x="26885" y="41430"/>
                  </a:lnTo>
                  <a:lnTo>
                    <a:pt x="7006" y="7006"/>
                  </a:lnTo>
                  <a:lnTo>
                    <a:pt x="26269" y="7006"/>
                  </a:lnTo>
                  <a:lnTo>
                    <a:pt x="46148" y="414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4" name="Freeform: Shape 13473">
              <a:extLst>
                <a:ext uri="{FF2B5EF4-FFF2-40B4-BE49-F238E27FC236}">
                  <a16:creationId xmlns:a16="http://schemas.microsoft.com/office/drawing/2014/main" id="{678D68AB-54CB-4625-B135-A9769AFAB8C9}"/>
                </a:ext>
              </a:extLst>
            </p:cNvPr>
            <p:cNvSpPr/>
            <p:nvPr/>
          </p:nvSpPr>
          <p:spPr bwMode="ltGray">
            <a:xfrm>
              <a:off x="152612" y="3279561"/>
              <a:ext cx="56050" cy="47082"/>
            </a:xfrm>
            <a:custGeom>
              <a:avLst/>
              <a:gdLst>
                <a:gd name="connsiteX0" fmla="*/ 14881 w 56049"/>
                <a:gd name="connsiteY0" fmla="*/ 41430 h 47081"/>
                <a:gd name="connsiteX1" fmla="*/ 7006 w 56049"/>
                <a:gd name="connsiteY1" fmla="*/ 41430 h 47081"/>
                <a:gd name="connsiteX2" fmla="*/ 41439 w 56049"/>
                <a:gd name="connsiteY2" fmla="*/ 7006 h 47081"/>
                <a:gd name="connsiteX3" fmla="*/ 49305 w 56049"/>
                <a:gd name="connsiteY3" fmla="*/ 7006 h 47081"/>
                <a:gd name="connsiteX4" fmla="*/ 14881 w 56049"/>
                <a:gd name="connsiteY4" fmla="*/ 41430 h 47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49" h="47081">
                  <a:moveTo>
                    <a:pt x="14881" y="41430"/>
                  </a:moveTo>
                  <a:lnTo>
                    <a:pt x="7006" y="41430"/>
                  </a:lnTo>
                  <a:lnTo>
                    <a:pt x="41439" y="7006"/>
                  </a:lnTo>
                  <a:lnTo>
                    <a:pt x="49305" y="7006"/>
                  </a:lnTo>
                  <a:lnTo>
                    <a:pt x="14881" y="414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5" name="Freeform: Shape 13474">
              <a:extLst>
                <a:ext uri="{FF2B5EF4-FFF2-40B4-BE49-F238E27FC236}">
                  <a16:creationId xmlns:a16="http://schemas.microsoft.com/office/drawing/2014/main" id="{5073B2DC-2028-48B4-91AF-F78214648F49}"/>
                </a:ext>
              </a:extLst>
            </p:cNvPr>
            <p:cNvSpPr/>
            <p:nvPr/>
          </p:nvSpPr>
          <p:spPr bwMode="ltGray">
            <a:xfrm>
              <a:off x="460549" y="3279561"/>
              <a:ext cx="56050" cy="47082"/>
            </a:xfrm>
            <a:custGeom>
              <a:avLst/>
              <a:gdLst>
                <a:gd name="connsiteX0" fmla="*/ 49305 w 56049"/>
                <a:gd name="connsiteY0" fmla="*/ 41430 h 47081"/>
                <a:gd name="connsiteX1" fmla="*/ 41439 w 56049"/>
                <a:gd name="connsiteY1" fmla="*/ 41430 h 47081"/>
                <a:gd name="connsiteX2" fmla="*/ 25904 w 56049"/>
                <a:gd name="connsiteY2" fmla="*/ 25895 h 47081"/>
                <a:gd name="connsiteX3" fmla="*/ 33770 w 56049"/>
                <a:gd name="connsiteY3" fmla="*/ 25895 h 47081"/>
                <a:gd name="connsiteX4" fmla="*/ 49305 w 56049"/>
                <a:gd name="connsiteY4" fmla="*/ 41430 h 47081"/>
                <a:gd name="connsiteX5" fmla="*/ 16880 w 56049"/>
                <a:gd name="connsiteY5" fmla="*/ 9005 h 47081"/>
                <a:gd name="connsiteX6" fmla="*/ 9015 w 56049"/>
                <a:gd name="connsiteY6" fmla="*/ 9005 h 47081"/>
                <a:gd name="connsiteX7" fmla="*/ 7006 w 56049"/>
                <a:gd name="connsiteY7" fmla="*/ 7006 h 47081"/>
                <a:gd name="connsiteX8" fmla="*/ 14881 w 56049"/>
                <a:gd name="connsiteY8" fmla="*/ 7006 h 47081"/>
                <a:gd name="connsiteX9" fmla="*/ 16880 w 56049"/>
                <a:gd name="connsiteY9" fmla="*/ 9005 h 47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049" h="47081">
                  <a:moveTo>
                    <a:pt x="49305" y="41430"/>
                  </a:moveTo>
                  <a:lnTo>
                    <a:pt x="41439" y="41430"/>
                  </a:lnTo>
                  <a:lnTo>
                    <a:pt x="25904" y="25895"/>
                  </a:lnTo>
                  <a:lnTo>
                    <a:pt x="33770" y="25895"/>
                  </a:lnTo>
                  <a:lnTo>
                    <a:pt x="49305" y="41430"/>
                  </a:lnTo>
                  <a:close/>
                  <a:moveTo>
                    <a:pt x="16880" y="9005"/>
                  </a:moveTo>
                  <a:lnTo>
                    <a:pt x="9015" y="9005"/>
                  </a:lnTo>
                  <a:lnTo>
                    <a:pt x="7006" y="7006"/>
                  </a:lnTo>
                  <a:lnTo>
                    <a:pt x="14881" y="7006"/>
                  </a:lnTo>
                  <a:lnTo>
                    <a:pt x="16880" y="9005"/>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6" name="Freeform: Shape 13475">
              <a:extLst>
                <a:ext uri="{FF2B5EF4-FFF2-40B4-BE49-F238E27FC236}">
                  <a16:creationId xmlns:a16="http://schemas.microsoft.com/office/drawing/2014/main" id="{FE2DF4FE-710C-4443-84F7-8A08FD599403}"/>
                </a:ext>
              </a:extLst>
            </p:cNvPr>
            <p:cNvSpPr/>
            <p:nvPr/>
          </p:nvSpPr>
          <p:spPr bwMode="ltGray">
            <a:xfrm>
              <a:off x="1031574" y="3279561"/>
              <a:ext cx="127793" cy="47082"/>
            </a:xfrm>
            <a:custGeom>
              <a:avLst/>
              <a:gdLst>
                <a:gd name="connsiteX0" fmla="*/ 86597 w 127793"/>
                <a:gd name="connsiteY0" fmla="*/ 41430 h 47081"/>
                <a:gd name="connsiteX1" fmla="*/ 7006 w 127793"/>
                <a:gd name="connsiteY1" fmla="*/ 41430 h 47081"/>
                <a:gd name="connsiteX2" fmla="*/ 41430 w 127793"/>
                <a:gd name="connsiteY2" fmla="*/ 7006 h 47081"/>
                <a:gd name="connsiteX3" fmla="*/ 121030 w 127793"/>
                <a:gd name="connsiteY3" fmla="*/ 7006 h 47081"/>
                <a:gd name="connsiteX4" fmla="*/ 86597 w 127793"/>
                <a:gd name="connsiteY4" fmla="*/ 41430 h 47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793" h="47081">
                  <a:moveTo>
                    <a:pt x="86597" y="41430"/>
                  </a:moveTo>
                  <a:lnTo>
                    <a:pt x="7006" y="41430"/>
                  </a:lnTo>
                  <a:lnTo>
                    <a:pt x="41430" y="7006"/>
                  </a:lnTo>
                  <a:lnTo>
                    <a:pt x="121030" y="7006"/>
                  </a:lnTo>
                  <a:lnTo>
                    <a:pt x="86597" y="414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7" name="Freeform: Shape 13476">
              <a:extLst>
                <a:ext uri="{FF2B5EF4-FFF2-40B4-BE49-F238E27FC236}">
                  <a16:creationId xmlns:a16="http://schemas.microsoft.com/office/drawing/2014/main" id="{BEB5A05F-0425-45C9-8FD6-638520AC271D}"/>
                </a:ext>
              </a:extLst>
            </p:cNvPr>
            <p:cNvSpPr/>
            <p:nvPr/>
          </p:nvSpPr>
          <p:spPr bwMode="ltGray">
            <a:xfrm>
              <a:off x="3104862" y="3266015"/>
              <a:ext cx="105373" cy="60534"/>
            </a:xfrm>
            <a:custGeom>
              <a:avLst/>
              <a:gdLst>
                <a:gd name="connsiteX0" fmla="*/ 22924 w 105373"/>
                <a:gd name="connsiteY0" fmla="*/ 54976 h 60533"/>
                <a:gd name="connsiteX1" fmla="*/ 7006 w 105373"/>
                <a:gd name="connsiteY1" fmla="*/ 54976 h 60533"/>
                <a:gd name="connsiteX2" fmla="*/ 54985 w 105373"/>
                <a:gd name="connsiteY2" fmla="*/ 7006 h 60533"/>
                <a:gd name="connsiteX3" fmla="*/ 98601 w 105373"/>
                <a:gd name="connsiteY3" fmla="*/ 7006 h 60533"/>
                <a:gd name="connsiteX4" fmla="*/ 87344 w 105373"/>
                <a:gd name="connsiteY4" fmla="*/ 18263 h 60533"/>
                <a:gd name="connsiteX5" fmla="*/ 59646 w 105373"/>
                <a:gd name="connsiteY5" fmla="*/ 18263 h 60533"/>
                <a:gd name="connsiteX6" fmla="*/ 22924 w 105373"/>
                <a:gd name="connsiteY6" fmla="*/ 54976 h 60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373" h="60533">
                  <a:moveTo>
                    <a:pt x="22924" y="54976"/>
                  </a:moveTo>
                  <a:lnTo>
                    <a:pt x="7006" y="54976"/>
                  </a:lnTo>
                  <a:lnTo>
                    <a:pt x="54985" y="7006"/>
                  </a:lnTo>
                  <a:lnTo>
                    <a:pt x="98601" y="7006"/>
                  </a:lnTo>
                  <a:lnTo>
                    <a:pt x="87344" y="18263"/>
                  </a:lnTo>
                  <a:lnTo>
                    <a:pt x="59646" y="18263"/>
                  </a:lnTo>
                  <a:lnTo>
                    <a:pt x="22924" y="5497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8" name="Freeform: Shape 13477">
              <a:extLst>
                <a:ext uri="{FF2B5EF4-FFF2-40B4-BE49-F238E27FC236}">
                  <a16:creationId xmlns:a16="http://schemas.microsoft.com/office/drawing/2014/main" id="{3E8342B8-4EFC-41D0-BA4F-46CC96C3AE2A}"/>
                </a:ext>
              </a:extLst>
            </p:cNvPr>
            <p:cNvSpPr/>
            <p:nvPr/>
          </p:nvSpPr>
          <p:spPr bwMode="ltGray">
            <a:xfrm>
              <a:off x="316941" y="3281560"/>
              <a:ext cx="717436" cy="44840"/>
            </a:xfrm>
            <a:custGeom>
              <a:avLst/>
              <a:gdLst>
                <a:gd name="connsiteX0" fmla="*/ 30883 w 717435"/>
                <a:gd name="connsiteY0" fmla="*/ 39431 h 44839"/>
                <a:gd name="connsiteX1" fmla="*/ 7006 w 717435"/>
                <a:gd name="connsiteY1" fmla="*/ 39431 h 44839"/>
                <a:gd name="connsiteX2" fmla="*/ 39431 w 717435"/>
                <a:gd name="connsiteY2" fmla="*/ 7006 h 44839"/>
                <a:gd name="connsiteX3" fmla="*/ 710598 w 717435"/>
                <a:gd name="connsiteY3" fmla="*/ 7006 h 44839"/>
                <a:gd name="connsiteX4" fmla="*/ 710598 w 717435"/>
                <a:gd name="connsiteY4" fmla="*/ 23896 h 44839"/>
                <a:gd name="connsiteX5" fmla="*/ 177379 w 717435"/>
                <a:gd name="connsiteY5" fmla="*/ 23896 h 44839"/>
                <a:gd name="connsiteX6" fmla="*/ 169513 w 717435"/>
                <a:gd name="connsiteY6" fmla="*/ 23896 h 44839"/>
                <a:gd name="connsiteX7" fmla="*/ 46418 w 717435"/>
                <a:gd name="connsiteY7" fmla="*/ 23896 h 44839"/>
                <a:gd name="connsiteX8" fmla="*/ 30883 w 717435"/>
                <a:gd name="connsiteY8" fmla="*/ 39431 h 44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435" h="44839">
                  <a:moveTo>
                    <a:pt x="30883" y="39431"/>
                  </a:moveTo>
                  <a:lnTo>
                    <a:pt x="7006" y="39431"/>
                  </a:lnTo>
                  <a:lnTo>
                    <a:pt x="39431" y="7006"/>
                  </a:lnTo>
                  <a:lnTo>
                    <a:pt x="710598" y="7006"/>
                  </a:lnTo>
                  <a:lnTo>
                    <a:pt x="710598" y="23896"/>
                  </a:lnTo>
                  <a:lnTo>
                    <a:pt x="177379" y="23896"/>
                  </a:lnTo>
                  <a:lnTo>
                    <a:pt x="169513" y="23896"/>
                  </a:lnTo>
                  <a:lnTo>
                    <a:pt x="46418" y="23896"/>
                  </a:lnTo>
                  <a:lnTo>
                    <a:pt x="30883" y="3943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79" name="Freeform: Shape 13478">
              <a:extLst>
                <a:ext uri="{FF2B5EF4-FFF2-40B4-BE49-F238E27FC236}">
                  <a16:creationId xmlns:a16="http://schemas.microsoft.com/office/drawing/2014/main" id="{5364D97E-D716-460A-9C15-649019AA951C}"/>
                </a:ext>
              </a:extLst>
            </p:cNvPr>
            <p:cNvSpPr/>
            <p:nvPr/>
          </p:nvSpPr>
          <p:spPr bwMode="ltGray">
            <a:xfrm>
              <a:off x="3248975" y="2784147"/>
              <a:ext cx="616546" cy="394590"/>
            </a:xfrm>
            <a:custGeom>
              <a:avLst/>
              <a:gdLst>
                <a:gd name="connsiteX0" fmla="*/ 55695 w 616546"/>
                <a:gd name="connsiteY0" fmla="*/ 387668 h 394589"/>
                <a:gd name="connsiteX1" fmla="*/ 7006 w 616546"/>
                <a:gd name="connsiteY1" fmla="*/ 387668 h 394589"/>
                <a:gd name="connsiteX2" fmla="*/ 78535 w 616546"/>
                <a:gd name="connsiteY2" fmla="*/ 316139 h 394589"/>
                <a:gd name="connsiteX3" fmla="*/ 184348 w 616546"/>
                <a:gd name="connsiteY3" fmla="*/ 210327 h 394589"/>
                <a:gd name="connsiteX4" fmla="*/ 193764 w 616546"/>
                <a:gd name="connsiteY4" fmla="*/ 210327 h 394589"/>
                <a:gd name="connsiteX5" fmla="*/ 213391 w 616546"/>
                <a:gd name="connsiteY5" fmla="*/ 229963 h 394589"/>
                <a:gd name="connsiteX6" fmla="*/ 127214 w 616546"/>
                <a:gd name="connsiteY6" fmla="*/ 316139 h 394589"/>
                <a:gd name="connsiteX7" fmla="*/ 55695 w 616546"/>
                <a:gd name="connsiteY7" fmla="*/ 387668 h 394589"/>
                <a:gd name="connsiteX8" fmla="*/ 225189 w 616546"/>
                <a:gd name="connsiteY8" fmla="*/ 218164 h 394589"/>
                <a:gd name="connsiteX9" fmla="*/ 200845 w 616546"/>
                <a:gd name="connsiteY9" fmla="*/ 193820 h 394589"/>
                <a:gd name="connsiteX10" fmla="*/ 247712 w 616546"/>
                <a:gd name="connsiteY10" fmla="*/ 146953 h 394589"/>
                <a:gd name="connsiteX11" fmla="*/ 266600 w 616546"/>
                <a:gd name="connsiteY11" fmla="*/ 146953 h 394589"/>
                <a:gd name="connsiteX12" fmla="*/ 281500 w 616546"/>
                <a:gd name="connsiteY12" fmla="*/ 161862 h 394589"/>
                <a:gd name="connsiteX13" fmla="*/ 225189 w 616546"/>
                <a:gd name="connsiteY13" fmla="*/ 218164 h 394589"/>
                <a:gd name="connsiteX14" fmla="*/ 285480 w 616546"/>
                <a:gd name="connsiteY14" fmla="*/ 157883 h 394589"/>
                <a:gd name="connsiteX15" fmla="*/ 268927 w 616546"/>
                <a:gd name="connsiteY15" fmla="*/ 141329 h 394589"/>
                <a:gd name="connsiteX16" fmla="*/ 253345 w 616546"/>
                <a:gd name="connsiteY16" fmla="*/ 141329 h 394589"/>
                <a:gd name="connsiteX17" fmla="*/ 387659 w 616546"/>
                <a:gd name="connsiteY17" fmla="*/ 7006 h 394589"/>
                <a:gd name="connsiteX18" fmla="*/ 610914 w 616546"/>
                <a:gd name="connsiteY18" fmla="*/ 7006 h 394589"/>
                <a:gd name="connsiteX19" fmla="*/ 610914 w 616546"/>
                <a:gd name="connsiteY19" fmla="*/ 41439 h 394589"/>
                <a:gd name="connsiteX20" fmla="*/ 401923 w 616546"/>
                <a:gd name="connsiteY20" fmla="*/ 41439 h 394589"/>
                <a:gd name="connsiteX21" fmla="*/ 285480 w 616546"/>
                <a:gd name="connsiteY21" fmla="*/ 157883 h 394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16546" h="394589">
                  <a:moveTo>
                    <a:pt x="55695" y="387668"/>
                  </a:moveTo>
                  <a:lnTo>
                    <a:pt x="7006" y="387668"/>
                  </a:lnTo>
                  <a:lnTo>
                    <a:pt x="78535" y="316139"/>
                  </a:lnTo>
                  <a:lnTo>
                    <a:pt x="184348" y="210327"/>
                  </a:lnTo>
                  <a:lnTo>
                    <a:pt x="193764" y="210327"/>
                  </a:lnTo>
                  <a:lnTo>
                    <a:pt x="213391" y="229963"/>
                  </a:lnTo>
                  <a:lnTo>
                    <a:pt x="127214" y="316139"/>
                  </a:lnTo>
                  <a:lnTo>
                    <a:pt x="55695" y="387668"/>
                  </a:lnTo>
                  <a:close/>
                  <a:moveTo>
                    <a:pt x="225189" y="218164"/>
                  </a:moveTo>
                  <a:lnTo>
                    <a:pt x="200845" y="193820"/>
                  </a:lnTo>
                  <a:lnTo>
                    <a:pt x="247712" y="146953"/>
                  </a:lnTo>
                  <a:lnTo>
                    <a:pt x="266600" y="146953"/>
                  </a:lnTo>
                  <a:lnTo>
                    <a:pt x="281500" y="161862"/>
                  </a:lnTo>
                  <a:lnTo>
                    <a:pt x="225189" y="218164"/>
                  </a:lnTo>
                  <a:close/>
                  <a:moveTo>
                    <a:pt x="285480" y="157883"/>
                  </a:moveTo>
                  <a:lnTo>
                    <a:pt x="268927" y="141329"/>
                  </a:lnTo>
                  <a:lnTo>
                    <a:pt x="253345" y="141329"/>
                  </a:lnTo>
                  <a:lnTo>
                    <a:pt x="387659" y="7006"/>
                  </a:lnTo>
                  <a:lnTo>
                    <a:pt x="610914" y="7006"/>
                  </a:lnTo>
                  <a:lnTo>
                    <a:pt x="610914" y="41439"/>
                  </a:lnTo>
                  <a:lnTo>
                    <a:pt x="401923" y="41439"/>
                  </a:lnTo>
                  <a:lnTo>
                    <a:pt x="285480" y="157883"/>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0" name="Freeform: Shape 13479">
              <a:extLst>
                <a:ext uri="{FF2B5EF4-FFF2-40B4-BE49-F238E27FC236}">
                  <a16:creationId xmlns:a16="http://schemas.microsoft.com/office/drawing/2014/main" id="{0D7E8B37-C2DD-40D2-ACDA-E99B1B5A3045}"/>
                </a:ext>
              </a:extLst>
            </p:cNvPr>
            <p:cNvSpPr/>
            <p:nvPr/>
          </p:nvSpPr>
          <p:spPr bwMode="ltGray">
            <a:xfrm>
              <a:off x="3426317" y="2970961"/>
              <a:ext cx="53808" cy="49324"/>
            </a:xfrm>
            <a:custGeom>
              <a:avLst/>
              <a:gdLst>
                <a:gd name="connsiteX0" fmla="*/ 36049 w 53807"/>
                <a:gd name="connsiteY0" fmla="*/ 43149 h 49323"/>
                <a:gd name="connsiteX1" fmla="*/ 16423 w 53807"/>
                <a:gd name="connsiteY1" fmla="*/ 23513 h 49323"/>
                <a:gd name="connsiteX2" fmla="*/ 7006 w 53807"/>
                <a:gd name="connsiteY2" fmla="*/ 23513 h 49323"/>
                <a:gd name="connsiteX3" fmla="*/ 23503 w 53807"/>
                <a:gd name="connsiteY3" fmla="*/ 7006 h 49323"/>
                <a:gd name="connsiteX4" fmla="*/ 47848 w 53807"/>
                <a:gd name="connsiteY4" fmla="*/ 31350 h 49323"/>
                <a:gd name="connsiteX5" fmla="*/ 36049 w 53807"/>
                <a:gd name="connsiteY5" fmla="*/ 43149 h 49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807" h="49323">
                  <a:moveTo>
                    <a:pt x="36049" y="43149"/>
                  </a:moveTo>
                  <a:lnTo>
                    <a:pt x="16423" y="23513"/>
                  </a:lnTo>
                  <a:lnTo>
                    <a:pt x="7006" y="23513"/>
                  </a:lnTo>
                  <a:lnTo>
                    <a:pt x="23503" y="7006"/>
                  </a:lnTo>
                  <a:lnTo>
                    <a:pt x="47848" y="31350"/>
                  </a:lnTo>
                  <a:lnTo>
                    <a:pt x="36049" y="4314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1" name="Freeform: Shape 13480">
              <a:extLst>
                <a:ext uri="{FF2B5EF4-FFF2-40B4-BE49-F238E27FC236}">
                  <a16:creationId xmlns:a16="http://schemas.microsoft.com/office/drawing/2014/main" id="{30A1C48B-4214-4D8F-A731-DF971749DF7D}"/>
                </a:ext>
              </a:extLst>
            </p:cNvPr>
            <p:cNvSpPr/>
            <p:nvPr/>
          </p:nvSpPr>
          <p:spPr bwMode="ltGray">
            <a:xfrm>
              <a:off x="3489681" y="2918470"/>
              <a:ext cx="51566" cy="33630"/>
            </a:xfrm>
            <a:custGeom>
              <a:avLst/>
              <a:gdLst>
                <a:gd name="connsiteX0" fmla="*/ 40795 w 51565"/>
                <a:gd name="connsiteY0" fmla="*/ 27539 h 33629"/>
                <a:gd name="connsiteX1" fmla="*/ 25895 w 51565"/>
                <a:gd name="connsiteY1" fmla="*/ 12630 h 33629"/>
                <a:gd name="connsiteX2" fmla="*/ 7006 w 51565"/>
                <a:gd name="connsiteY2" fmla="*/ 12630 h 33629"/>
                <a:gd name="connsiteX3" fmla="*/ 12639 w 51565"/>
                <a:gd name="connsiteY3" fmla="*/ 7006 h 33629"/>
                <a:gd name="connsiteX4" fmla="*/ 28221 w 51565"/>
                <a:gd name="connsiteY4" fmla="*/ 7006 h 33629"/>
                <a:gd name="connsiteX5" fmla="*/ 44774 w 51565"/>
                <a:gd name="connsiteY5" fmla="*/ 23560 h 33629"/>
                <a:gd name="connsiteX6" fmla="*/ 40795 w 51565"/>
                <a:gd name="connsiteY6" fmla="*/ 27539 h 33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65" h="33629">
                  <a:moveTo>
                    <a:pt x="40795" y="27539"/>
                  </a:moveTo>
                  <a:lnTo>
                    <a:pt x="25895" y="12630"/>
                  </a:lnTo>
                  <a:lnTo>
                    <a:pt x="7006" y="12630"/>
                  </a:lnTo>
                  <a:lnTo>
                    <a:pt x="12639" y="7006"/>
                  </a:lnTo>
                  <a:lnTo>
                    <a:pt x="28221" y="7006"/>
                  </a:lnTo>
                  <a:lnTo>
                    <a:pt x="44774" y="23560"/>
                  </a:lnTo>
                  <a:lnTo>
                    <a:pt x="40795" y="275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2" name="Freeform: Shape 13481">
              <a:extLst>
                <a:ext uri="{FF2B5EF4-FFF2-40B4-BE49-F238E27FC236}">
                  <a16:creationId xmlns:a16="http://schemas.microsoft.com/office/drawing/2014/main" id="{79E95478-7879-4610-90B5-1175952F6221}"/>
                </a:ext>
              </a:extLst>
            </p:cNvPr>
            <p:cNvSpPr/>
            <p:nvPr/>
          </p:nvSpPr>
          <p:spPr bwMode="ltGray">
            <a:xfrm>
              <a:off x="3232095" y="3164808"/>
              <a:ext cx="78470" cy="29146"/>
            </a:xfrm>
            <a:custGeom>
              <a:avLst/>
              <a:gdLst>
                <a:gd name="connsiteX0" fmla="*/ 55685 w 78469"/>
                <a:gd name="connsiteY0" fmla="*/ 23886 h 29145"/>
                <a:gd name="connsiteX1" fmla="*/ 7006 w 78469"/>
                <a:gd name="connsiteY1" fmla="*/ 23886 h 29145"/>
                <a:gd name="connsiteX2" fmla="*/ 23886 w 78469"/>
                <a:gd name="connsiteY2" fmla="*/ 7006 h 29145"/>
                <a:gd name="connsiteX3" fmla="*/ 72575 w 78469"/>
                <a:gd name="connsiteY3" fmla="*/ 7006 h 29145"/>
                <a:gd name="connsiteX4" fmla="*/ 55685 w 78469"/>
                <a:gd name="connsiteY4" fmla="*/ 23886 h 2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69" h="29145">
                  <a:moveTo>
                    <a:pt x="55685" y="23886"/>
                  </a:moveTo>
                  <a:lnTo>
                    <a:pt x="7006" y="23886"/>
                  </a:lnTo>
                  <a:lnTo>
                    <a:pt x="23886" y="7006"/>
                  </a:lnTo>
                  <a:lnTo>
                    <a:pt x="72575" y="7006"/>
                  </a:lnTo>
                  <a:lnTo>
                    <a:pt x="55685" y="2388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3" name="Freeform: Shape 13482">
              <a:extLst>
                <a:ext uri="{FF2B5EF4-FFF2-40B4-BE49-F238E27FC236}">
                  <a16:creationId xmlns:a16="http://schemas.microsoft.com/office/drawing/2014/main" id="{BE2F2136-E6B8-467F-9E38-3BFD5F97C184}"/>
                </a:ext>
              </a:extLst>
            </p:cNvPr>
            <p:cNvSpPr/>
            <p:nvPr/>
          </p:nvSpPr>
          <p:spPr bwMode="ltGray">
            <a:xfrm>
              <a:off x="699125" y="2338505"/>
              <a:ext cx="2979600" cy="219715"/>
            </a:xfrm>
            <a:custGeom>
              <a:avLst/>
              <a:gdLst>
                <a:gd name="connsiteX0" fmla="*/ 2020256 w 2979599"/>
                <a:gd name="connsiteY0" fmla="*/ 213577 h 219714"/>
                <a:gd name="connsiteX1" fmla="*/ 7006 w 2979599"/>
                <a:gd name="connsiteY1" fmla="*/ 213577 h 219714"/>
                <a:gd name="connsiteX2" fmla="*/ 41430 w 2979599"/>
                <a:gd name="connsiteY2" fmla="*/ 179144 h 219714"/>
                <a:gd name="connsiteX3" fmla="*/ 2006000 w 2979599"/>
                <a:gd name="connsiteY3" fmla="*/ 179144 h 219714"/>
                <a:gd name="connsiteX4" fmla="*/ 2178148 w 2979599"/>
                <a:gd name="connsiteY4" fmla="*/ 7006 h 219714"/>
                <a:gd name="connsiteX5" fmla="*/ 2460825 w 2979599"/>
                <a:gd name="connsiteY5" fmla="*/ 7006 h 219714"/>
                <a:gd name="connsiteX6" fmla="*/ 2426392 w 2979599"/>
                <a:gd name="connsiteY6" fmla="*/ 41430 h 219714"/>
                <a:gd name="connsiteX7" fmla="*/ 2384962 w 2979599"/>
                <a:gd name="connsiteY7" fmla="*/ 41430 h 219714"/>
                <a:gd name="connsiteX8" fmla="*/ 2192403 w 2979599"/>
                <a:gd name="connsiteY8" fmla="*/ 41430 h 219714"/>
                <a:gd name="connsiteX9" fmla="*/ 2177232 w 2979599"/>
                <a:gd name="connsiteY9" fmla="*/ 56610 h 219714"/>
                <a:gd name="connsiteX10" fmla="*/ 2169647 w 2979599"/>
                <a:gd name="connsiteY10" fmla="*/ 56610 h 219714"/>
                <a:gd name="connsiteX11" fmla="*/ 2169647 w 2979599"/>
                <a:gd name="connsiteY11" fmla="*/ 64186 h 219714"/>
                <a:gd name="connsiteX12" fmla="*/ 2020256 w 2979599"/>
                <a:gd name="connsiteY12" fmla="*/ 213577 h 219714"/>
                <a:gd name="connsiteX13" fmla="*/ 2938415 w 2979599"/>
                <a:gd name="connsiteY13" fmla="*/ 41430 h 219714"/>
                <a:gd name="connsiteX14" fmla="*/ 2547263 w 2979599"/>
                <a:gd name="connsiteY14" fmla="*/ 41430 h 219714"/>
                <a:gd name="connsiteX15" fmla="*/ 2438368 w 2979599"/>
                <a:gd name="connsiteY15" fmla="*/ 41430 h 219714"/>
                <a:gd name="connsiteX16" fmla="*/ 2472791 w 2979599"/>
                <a:gd name="connsiteY16" fmla="*/ 7006 h 219714"/>
                <a:gd name="connsiteX17" fmla="*/ 2972839 w 2979599"/>
                <a:gd name="connsiteY17" fmla="*/ 7006 h 219714"/>
                <a:gd name="connsiteX18" fmla="*/ 2938415 w 2979599"/>
                <a:gd name="connsiteY18" fmla="*/ 41430 h 21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79599" h="219714">
                  <a:moveTo>
                    <a:pt x="2020256" y="213577"/>
                  </a:moveTo>
                  <a:lnTo>
                    <a:pt x="7006" y="213577"/>
                  </a:lnTo>
                  <a:lnTo>
                    <a:pt x="41430" y="179144"/>
                  </a:lnTo>
                  <a:lnTo>
                    <a:pt x="2006000" y="179144"/>
                  </a:lnTo>
                  <a:lnTo>
                    <a:pt x="2178148" y="7006"/>
                  </a:lnTo>
                  <a:lnTo>
                    <a:pt x="2460825" y="7006"/>
                  </a:lnTo>
                  <a:lnTo>
                    <a:pt x="2426392" y="41430"/>
                  </a:lnTo>
                  <a:lnTo>
                    <a:pt x="2384962" y="41430"/>
                  </a:lnTo>
                  <a:lnTo>
                    <a:pt x="2192403" y="41430"/>
                  </a:lnTo>
                  <a:lnTo>
                    <a:pt x="2177232" y="56610"/>
                  </a:lnTo>
                  <a:lnTo>
                    <a:pt x="2169647" y="56610"/>
                  </a:lnTo>
                  <a:lnTo>
                    <a:pt x="2169647" y="64186"/>
                  </a:lnTo>
                  <a:lnTo>
                    <a:pt x="2020256" y="213577"/>
                  </a:lnTo>
                  <a:close/>
                  <a:moveTo>
                    <a:pt x="2938415" y="41430"/>
                  </a:moveTo>
                  <a:lnTo>
                    <a:pt x="2547263" y="41430"/>
                  </a:lnTo>
                  <a:lnTo>
                    <a:pt x="2438368" y="41430"/>
                  </a:lnTo>
                  <a:lnTo>
                    <a:pt x="2472791" y="7006"/>
                  </a:lnTo>
                  <a:lnTo>
                    <a:pt x="2972839" y="7006"/>
                  </a:lnTo>
                  <a:lnTo>
                    <a:pt x="2938415" y="41430"/>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4" name="Freeform: Shape 13483">
              <a:extLst>
                <a:ext uri="{FF2B5EF4-FFF2-40B4-BE49-F238E27FC236}">
                  <a16:creationId xmlns:a16="http://schemas.microsoft.com/office/drawing/2014/main" id="{804E6A72-FFC0-41BD-81C1-3F6D977B53CE}"/>
                </a:ext>
              </a:extLst>
            </p:cNvPr>
            <p:cNvSpPr/>
            <p:nvPr/>
          </p:nvSpPr>
          <p:spPr bwMode="ltGray">
            <a:xfrm>
              <a:off x="2861765" y="2338505"/>
              <a:ext cx="316120" cy="69502"/>
            </a:xfrm>
            <a:custGeom>
              <a:avLst/>
              <a:gdLst>
                <a:gd name="connsiteX0" fmla="*/ 7006 w 316120"/>
                <a:gd name="connsiteY0" fmla="*/ 64186 h 69501"/>
                <a:gd name="connsiteX1" fmla="*/ 7006 w 316120"/>
                <a:gd name="connsiteY1" fmla="*/ 56610 h 69501"/>
                <a:gd name="connsiteX2" fmla="*/ 14591 w 316120"/>
                <a:gd name="connsiteY2" fmla="*/ 56610 h 69501"/>
                <a:gd name="connsiteX3" fmla="*/ 7006 w 316120"/>
                <a:gd name="connsiteY3" fmla="*/ 64186 h 69501"/>
                <a:gd name="connsiteX4" fmla="*/ 275727 w 316120"/>
                <a:gd name="connsiteY4" fmla="*/ 41430 h 69501"/>
                <a:gd name="connsiteX5" fmla="*/ 263751 w 316120"/>
                <a:gd name="connsiteY5" fmla="*/ 41430 h 69501"/>
                <a:gd name="connsiteX6" fmla="*/ 298184 w 316120"/>
                <a:gd name="connsiteY6" fmla="*/ 7006 h 69501"/>
                <a:gd name="connsiteX7" fmla="*/ 310151 w 316120"/>
                <a:gd name="connsiteY7" fmla="*/ 7006 h 69501"/>
                <a:gd name="connsiteX8" fmla="*/ 275727 w 316120"/>
                <a:gd name="connsiteY8" fmla="*/ 41430 h 69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120" h="69501">
                  <a:moveTo>
                    <a:pt x="7006" y="64186"/>
                  </a:moveTo>
                  <a:lnTo>
                    <a:pt x="7006" y="56610"/>
                  </a:lnTo>
                  <a:lnTo>
                    <a:pt x="14591" y="56610"/>
                  </a:lnTo>
                  <a:lnTo>
                    <a:pt x="7006" y="64186"/>
                  </a:lnTo>
                  <a:close/>
                  <a:moveTo>
                    <a:pt x="275727" y="41430"/>
                  </a:moveTo>
                  <a:lnTo>
                    <a:pt x="263751" y="41430"/>
                  </a:lnTo>
                  <a:lnTo>
                    <a:pt x="298184" y="7006"/>
                  </a:lnTo>
                  <a:lnTo>
                    <a:pt x="310151" y="7006"/>
                  </a:lnTo>
                  <a:lnTo>
                    <a:pt x="275727" y="4143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5" name="Freeform: Shape 13484">
              <a:extLst>
                <a:ext uri="{FF2B5EF4-FFF2-40B4-BE49-F238E27FC236}">
                  <a16:creationId xmlns:a16="http://schemas.microsoft.com/office/drawing/2014/main" id="{ABB9B4A0-48C8-47AF-810E-A597BC7DA25C}"/>
                </a:ext>
              </a:extLst>
            </p:cNvPr>
            <p:cNvSpPr/>
            <p:nvPr/>
          </p:nvSpPr>
          <p:spPr bwMode="ltGray">
            <a:xfrm>
              <a:off x="-2860" y="2510643"/>
              <a:ext cx="742097" cy="47082"/>
            </a:xfrm>
            <a:custGeom>
              <a:avLst/>
              <a:gdLst>
                <a:gd name="connsiteX0" fmla="*/ 701023 w 742097"/>
                <a:gd name="connsiteY0" fmla="*/ 41439 h 47081"/>
                <a:gd name="connsiteX1" fmla="*/ 7006 w 742097"/>
                <a:gd name="connsiteY1" fmla="*/ 41439 h 47081"/>
                <a:gd name="connsiteX2" fmla="*/ 7006 w 742097"/>
                <a:gd name="connsiteY2" fmla="*/ 7006 h 47081"/>
                <a:gd name="connsiteX3" fmla="*/ 735456 w 742097"/>
                <a:gd name="connsiteY3" fmla="*/ 7006 h 47081"/>
                <a:gd name="connsiteX4" fmla="*/ 701023 w 742097"/>
                <a:gd name="connsiteY4" fmla="*/ 41439 h 47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2097" h="47081">
                  <a:moveTo>
                    <a:pt x="701023" y="41439"/>
                  </a:moveTo>
                  <a:lnTo>
                    <a:pt x="7006" y="41439"/>
                  </a:lnTo>
                  <a:lnTo>
                    <a:pt x="7006" y="7006"/>
                  </a:lnTo>
                  <a:lnTo>
                    <a:pt x="735456" y="7006"/>
                  </a:lnTo>
                  <a:lnTo>
                    <a:pt x="701023" y="41439"/>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6" name="Freeform: Shape 13485">
              <a:extLst>
                <a:ext uri="{FF2B5EF4-FFF2-40B4-BE49-F238E27FC236}">
                  <a16:creationId xmlns:a16="http://schemas.microsoft.com/office/drawing/2014/main" id="{62B699C2-003D-465B-BD7B-42A55EC75F48}"/>
                </a:ext>
              </a:extLst>
            </p:cNvPr>
            <p:cNvSpPr/>
            <p:nvPr/>
          </p:nvSpPr>
          <p:spPr bwMode="ltGray">
            <a:xfrm>
              <a:off x="691157" y="2510643"/>
              <a:ext cx="56050" cy="47082"/>
            </a:xfrm>
            <a:custGeom>
              <a:avLst/>
              <a:gdLst>
                <a:gd name="connsiteX0" fmla="*/ 14975 w 56049"/>
                <a:gd name="connsiteY0" fmla="*/ 41439 h 47081"/>
                <a:gd name="connsiteX1" fmla="*/ 7006 w 56049"/>
                <a:gd name="connsiteY1" fmla="*/ 41439 h 47081"/>
                <a:gd name="connsiteX2" fmla="*/ 41439 w 56049"/>
                <a:gd name="connsiteY2" fmla="*/ 7006 h 47081"/>
                <a:gd name="connsiteX3" fmla="*/ 49398 w 56049"/>
                <a:gd name="connsiteY3" fmla="*/ 7006 h 47081"/>
                <a:gd name="connsiteX4" fmla="*/ 14975 w 56049"/>
                <a:gd name="connsiteY4" fmla="*/ 41439 h 47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049" h="47081">
                  <a:moveTo>
                    <a:pt x="14975" y="41439"/>
                  </a:moveTo>
                  <a:lnTo>
                    <a:pt x="7006" y="41439"/>
                  </a:lnTo>
                  <a:lnTo>
                    <a:pt x="41439" y="7006"/>
                  </a:lnTo>
                  <a:lnTo>
                    <a:pt x="49398" y="7006"/>
                  </a:lnTo>
                  <a:lnTo>
                    <a:pt x="14975" y="41439"/>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7" name="Freeform: Shape 13486">
              <a:extLst>
                <a:ext uri="{FF2B5EF4-FFF2-40B4-BE49-F238E27FC236}">
                  <a16:creationId xmlns:a16="http://schemas.microsoft.com/office/drawing/2014/main" id="{3B431A08-E426-43B7-8BEB-CEBBA987266F}"/>
                </a:ext>
              </a:extLst>
            </p:cNvPr>
            <p:cNvSpPr/>
            <p:nvPr/>
          </p:nvSpPr>
          <p:spPr bwMode="ltGray">
            <a:xfrm>
              <a:off x="3646751" y="2338505"/>
              <a:ext cx="605336" cy="47082"/>
            </a:xfrm>
            <a:custGeom>
              <a:avLst/>
              <a:gdLst>
                <a:gd name="connsiteX0" fmla="*/ 599134 w 605336"/>
                <a:gd name="connsiteY0" fmla="*/ 41430 h 47081"/>
                <a:gd name="connsiteX1" fmla="*/ 7006 w 605336"/>
                <a:gd name="connsiteY1" fmla="*/ 41430 h 47081"/>
                <a:gd name="connsiteX2" fmla="*/ 41439 w 605336"/>
                <a:gd name="connsiteY2" fmla="*/ 7006 h 47081"/>
                <a:gd name="connsiteX3" fmla="*/ 599134 w 605336"/>
                <a:gd name="connsiteY3" fmla="*/ 7006 h 47081"/>
                <a:gd name="connsiteX4" fmla="*/ 599134 w 605336"/>
                <a:gd name="connsiteY4" fmla="*/ 41430 h 470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5336" h="47081">
                  <a:moveTo>
                    <a:pt x="599134" y="41430"/>
                  </a:moveTo>
                  <a:lnTo>
                    <a:pt x="7006" y="41430"/>
                  </a:lnTo>
                  <a:lnTo>
                    <a:pt x="41439" y="7006"/>
                  </a:lnTo>
                  <a:lnTo>
                    <a:pt x="599134" y="7006"/>
                  </a:lnTo>
                  <a:lnTo>
                    <a:pt x="599134" y="41430"/>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8" name="Freeform: Shape 13487">
              <a:extLst>
                <a:ext uri="{FF2B5EF4-FFF2-40B4-BE49-F238E27FC236}">
                  <a16:creationId xmlns:a16="http://schemas.microsoft.com/office/drawing/2014/main" id="{D5620784-6634-422B-92FB-0A111D25F534}"/>
                </a:ext>
              </a:extLst>
            </p:cNvPr>
            <p:cNvSpPr/>
            <p:nvPr/>
          </p:nvSpPr>
          <p:spPr bwMode="ltGray">
            <a:xfrm>
              <a:off x="7740369" y="4000313"/>
              <a:ext cx="1320530" cy="47082"/>
            </a:xfrm>
            <a:custGeom>
              <a:avLst/>
              <a:gdLst>
                <a:gd name="connsiteX0" fmla="*/ 7006 w 1320529"/>
                <a:gd name="connsiteY0" fmla="*/ 7006 h 47081"/>
                <a:gd name="connsiteX1" fmla="*/ 1314449 w 1320529"/>
                <a:gd name="connsiteY1" fmla="*/ 7006 h 47081"/>
                <a:gd name="connsiteX2" fmla="*/ 1314449 w 1320529"/>
                <a:gd name="connsiteY2" fmla="*/ 41430 h 47081"/>
                <a:gd name="connsiteX3" fmla="*/ 7006 w 1320529"/>
                <a:gd name="connsiteY3" fmla="*/ 41430 h 47081"/>
              </a:gdLst>
              <a:ahLst/>
              <a:cxnLst>
                <a:cxn ang="0">
                  <a:pos x="connsiteX0" y="connsiteY0"/>
                </a:cxn>
                <a:cxn ang="0">
                  <a:pos x="connsiteX1" y="connsiteY1"/>
                </a:cxn>
                <a:cxn ang="0">
                  <a:pos x="connsiteX2" y="connsiteY2"/>
                </a:cxn>
                <a:cxn ang="0">
                  <a:pos x="connsiteX3" y="connsiteY3"/>
                </a:cxn>
              </a:cxnLst>
              <a:rect l="l" t="t" r="r" b="b"/>
              <a:pathLst>
                <a:path w="1320529" h="47081">
                  <a:moveTo>
                    <a:pt x="7006" y="7006"/>
                  </a:moveTo>
                  <a:lnTo>
                    <a:pt x="1314449" y="7006"/>
                  </a:lnTo>
                  <a:lnTo>
                    <a:pt x="1314449" y="41430"/>
                  </a:lnTo>
                  <a:lnTo>
                    <a:pt x="7006" y="41430"/>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89" name="Freeform: Shape 13488">
              <a:extLst>
                <a:ext uri="{FF2B5EF4-FFF2-40B4-BE49-F238E27FC236}">
                  <a16:creationId xmlns:a16="http://schemas.microsoft.com/office/drawing/2014/main" id="{8AA149CD-2723-4FE5-A0E8-4A82DD5CE056}"/>
                </a:ext>
              </a:extLst>
            </p:cNvPr>
            <p:cNvSpPr/>
            <p:nvPr/>
          </p:nvSpPr>
          <p:spPr bwMode="ltGray">
            <a:xfrm>
              <a:off x="2854096" y="3332705"/>
              <a:ext cx="930424" cy="495479"/>
            </a:xfrm>
            <a:custGeom>
              <a:avLst/>
              <a:gdLst>
                <a:gd name="connsiteX0" fmla="*/ 414263 w 930424"/>
                <a:gd name="connsiteY0" fmla="*/ 490379 h 495478"/>
                <a:gd name="connsiteX1" fmla="*/ 354552 w 930424"/>
                <a:gd name="connsiteY1" fmla="*/ 490379 h 495478"/>
                <a:gd name="connsiteX2" fmla="*/ 364323 w 930424"/>
                <a:gd name="connsiteY2" fmla="*/ 478907 h 495478"/>
                <a:gd name="connsiteX3" fmla="*/ 418710 w 930424"/>
                <a:gd name="connsiteY3" fmla="*/ 478907 h 495478"/>
                <a:gd name="connsiteX4" fmla="*/ 414263 w 930424"/>
                <a:gd name="connsiteY4" fmla="*/ 490379 h 495478"/>
                <a:gd name="connsiteX5" fmla="*/ 269459 w 930424"/>
                <a:gd name="connsiteY5" fmla="*/ 490379 h 495478"/>
                <a:gd name="connsiteX6" fmla="*/ 209747 w 930424"/>
                <a:gd name="connsiteY6" fmla="*/ 490379 h 495478"/>
                <a:gd name="connsiteX7" fmla="*/ 205301 w 930424"/>
                <a:gd name="connsiteY7" fmla="*/ 478907 h 495478"/>
                <a:gd name="connsiteX8" fmla="*/ 259688 w 930424"/>
                <a:gd name="connsiteY8" fmla="*/ 478907 h 495478"/>
                <a:gd name="connsiteX9" fmla="*/ 269459 w 930424"/>
                <a:gd name="connsiteY9" fmla="*/ 490379 h 495478"/>
                <a:gd name="connsiteX10" fmla="*/ 467903 w 930424"/>
                <a:gd name="connsiteY10" fmla="*/ 464484 h 495478"/>
                <a:gd name="connsiteX11" fmla="*/ 469164 w 930424"/>
                <a:gd name="connsiteY11" fmla="*/ 446987 h 495478"/>
                <a:gd name="connsiteX12" fmla="*/ 602049 w 930424"/>
                <a:gd name="connsiteY12" fmla="*/ 314102 h 495478"/>
                <a:gd name="connsiteX13" fmla="*/ 642628 w 930424"/>
                <a:gd name="connsiteY13" fmla="*/ 273532 h 495478"/>
                <a:gd name="connsiteX14" fmla="*/ 841082 w 930424"/>
                <a:gd name="connsiteY14" fmla="*/ 75069 h 495478"/>
                <a:gd name="connsiteX15" fmla="*/ 857308 w 930424"/>
                <a:gd name="connsiteY15" fmla="*/ 58843 h 495478"/>
                <a:gd name="connsiteX16" fmla="*/ 909145 w 930424"/>
                <a:gd name="connsiteY16" fmla="*/ 7006 h 495478"/>
                <a:gd name="connsiteX17" fmla="*/ 925371 w 930424"/>
                <a:gd name="connsiteY17" fmla="*/ 7006 h 495478"/>
                <a:gd name="connsiteX18" fmla="*/ 865426 w 930424"/>
                <a:gd name="connsiteY18" fmla="*/ 66961 h 495478"/>
                <a:gd name="connsiteX19" fmla="*/ 849200 w 930424"/>
                <a:gd name="connsiteY19" fmla="*/ 83187 h 495478"/>
                <a:gd name="connsiteX20" fmla="*/ 650737 w 930424"/>
                <a:gd name="connsiteY20" fmla="*/ 281640 h 495478"/>
                <a:gd name="connsiteX21" fmla="*/ 610167 w 930424"/>
                <a:gd name="connsiteY21" fmla="*/ 322220 h 495478"/>
                <a:gd name="connsiteX22" fmla="*/ 467903 w 930424"/>
                <a:gd name="connsiteY22" fmla="*/ 464484 h 495478"/>
                <a:gd name="connsiteX23" fmla="*/ 155006 w 930424"/>
                <a:gd name="connsiteY23" fmla="*/ 452003 h 495478"/>
                <a:gd name="connsiteX24" fmla="*/ 7006 w 930424"/>
                <a:gd name="connsiteY24" fmla="*/ 304004 h 495478"/>
                <a:gd name="connsiteX25" fmla="*/ 23233 w 930424"/>
                <a:gd name="connsiteY25" fmla="*/ 304004 h 495478"/>
                <a:gd name="connsiteX26" fmla="*/ 155043 w 930424"/>
                <a:gd name="connsiteY26" fmla="*/ 435824 h 495478"/>
                <a:gd name="connsiteX27" fmla="*/ 154819 w 930424"/>
                <a:gd name="connsiteY27" fmla="*/ 444306 h 495478"/>
                <a:gd name="connsiteX28" fmla="*/ 155006 w 930424"/>
                <a:gd name="connsiteY28" fmla="*/ 452003 h 49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30424" h="495478">
                  <a:moveTo>
                    <a:pt x="414263" y="490379"/>
                  </a:moveTo>
                  <a:lnTo>
                    <a:pt x="354552" y="490379"/>
                  </a:lnTo>
                  <a:cubicBezTo>
                    <a:pt x="358242" y="486969"/>
                    <a:pt x="361530" y="483111"/>
                    <a:pt x="364323" y="478907"/>
                  </a:cubicBezTo>
                  <a:lnTo>
                    <a:pt x="418710" y="478907"/>
                  </a:lnTo>
                  <a:cubicBezTo>
                    <a:pt x="417440" y="482831"/>
                    <a:pt x="415954" y="486661"/>
                    <a:pt x="414263" y="490379"/>
                  </a:cubicBezTo>
                  <a:close/>
                  <a:moveTo>
                    <a:pt x="269459" y="490379"/>
                  </a:moveTo>
                  <a:lnTo>
                    <a:pt x="209747" y="490379"/>
                  </a:lnTo>
                  <a:cubicBezTo>
                    <a:pt x="208066" y="486661"/>
                    <a:pt x="206581" y="482831"/>
                    <a:pt x="205301" y="478907"/>
                  </a:cubicBezTo>
                  <a:lnTo>
                    <a:pt x="259688" y="478907"/>
                  </a:lnTo>
                  <a:cubicBezTo>
                    <a:pt x="262481" y="483111"/>
                    <a:pt x="265769" y="486969"/>
                    <a:pt x="269459" y="490379"/>
                  </a:cubicBezTo>
                  <a:close/>
                  <a:moveTo>
                    <a:pt x="467903" y="464484"/>
                  </a:moveTo>
                  <a:cubicBezTo>
                    <a:pt x="468641" y="458739"/>
                    <a:pt x="469071" y="452900"/>
                    <a:pt x="469164" y="446987"/>
                  </a:cubicBezTo>
                  <a:lnTo>
                    <a:pt x="602049" y="314102"/>
                  </a:lnTo>
                  <a:lnTo>
                    <a:pt x="642628" y="273532"/>
                  </a:lnTo>
                  <a:lnTo>
                    <a:pt x="841082" y="75069"/>
                  </a:lnTo>
                  <a:lnTo>
                    <a:pt x="857308" y="58843"/>
                  </a:lnTo>
                  <a:lnTo>
                    <a:pt x="909145" y="7006"/>
                  </a:lnTo>
                  <a:lnTo>
                    <a:pt x="925371" y="7006"/>
                  </a:lnTo>
                  <a:lnTo>
                    <a:pt x="865426" y="66961"/>
                  </a:lnTo>
                  <a:lnTo>
                    <a:pt x="849200" y="83187"/>
                  </a:lnTo>
                  <a:lnTo>
                    <a:pt x="650737" y="281640"/>
                  </a:lnTo>
                  <a:lnTo>
                    <a:pt x="610167" y="322220"/>
                  </a:lnTo>
                  <a:lnTo>
                    <a:pt x="467903" y="464484"/>
                  </a:lnTo>
                  <a:close/>
                  <a:moveTo>
                    <a:pt x="155006" y="452003"/>
                  </a:moveTo>
                  <a:lnTo>
                    <a:pt x="7006" y="304004"/>
                  </a:lnTo>
                  <a:lnTo>
                    <a:pt x="23233" y="304004"/>
                  </a:lnTo>
                  <a:lnTo>
                    <a:pt x="155043" y="435824"/>
                  </a:lnTo>
                  <a:cubicBezTo>
                    <a:pt x="154893" y="438626"/>
                    <a:pt x="154819" y="441457"/>
                    <a:pt x="154819" y="444306"/>
                  </a:cubicBezTo>
                  <a:cubicBezTo>
                    <a:pt x="154819" y="446884"/>
                    <a:pt x="154884" y="449453"/>
                    <a:pt x="155006" y="452003"/>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0" name="Freeform: Shape 13489">
              <a:extLst>
                <a:ext uri="{FF2B5EF4-FFF2-40B4-BE49-F238E27FC236}">
                  <a16:creationId xmlns:a16="http://schemas.microsoft.com/office/drawing/2014/main" id="{FAB10177-D1C1-4B98-9887-2B3188A8F9B8}"/>
                </a:ext>
              </a:extLst>
            </p:cNvPr>
            <p:cNvSpPr/>
            <p:nvPr/>
          </p:nvSpPr>
          <p:spPr bwMode="ltGray">
            <a:xfrm>
              <a:off x="3106777" y="3804606"/>
              <a:ext cx="116583" cy="24662"/>
            </a:xfrm>
            <a:custGeom>
              <a:avLst/>
              <a:gdLst>
                <a:gd name="connsiteX0" fmla="*/ 101870 w 116583"/>
                <a:gd name="connsiteY0" fmla="*/ 18478 h 24661"/>
                <a:gd name="connsiteX1" fmla="*/ 16777 w 116583"/>
                <a:gd name="connsiteY1" fmla="*/ 18478 h 24661"/>
                <a:gd name="connsiteX2" fmla="*/ 7006 w 116583"/>
                <a:gd name="connsiteY2" fmla="*/ 7006 h 24661"/>
                <a:gd name="connsiteX3" fmla="*/ 111642 w 116583"/>
                <a:gd name="connsiteY3" fmla="*/ 7006 h 24661"/>
                <a:gd name="connsiteX4" fmla="*/ 101870 w 116583"/>
                <a:gd name="connsiteY4" fmla="*/ 18478 h 24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83" h="24661">
                  <a:moveTo>
                    <a:pt x="101870" y="18478"/>
                  </a:moveTo>
                  <a:lnTo>
                    <a:pt x="16777" y="18478"/>
                  </a:lnTo>
                  <a:cubicBezTo>
                    <a:pt x="13088" y="15068"/>
                    <a:pt x="9799" y="11210"/>
                    <a:pt x="7006" y="7006"/>
                  </a:cubicBezTo>
                  <a:lnTo>
                    <a:pt x="111642" y="7006"/>
                  </a:lnTo>
                  <a:cubicBezTo>
                    <a:pt x="108849" y="11210"/>
                    <a:pt x="105560" y="15068"/>
                    <a:pt x="101870" y="18478"/>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1" name="Freeform: Shape 13490">
              <a:extLst>
                <a:ext uri="{FF2B5EF4-FFF2-40B4-BE49-F238E27FC236}">
                  <a16:creationId xmlns:a16="http://schemas.microsoft.com/office/drawing/2014/main" id="{D311B630-8F72-4550-B05D-F926FAC3738C}"/>
                </a:ext>
              </a:extLst>
            </p:cNvPr>
            <p:cNvSpPr/>
            <p:nvPr/>
          </p:nvSpPr>
          <p:spPr bwMode="ltGray">
            <a:xfrm>
              <a:off x="3001908" y="3761523"/>
              <a:ext cx="327330" cy="67260"/>
            </a:xfrm>
            <a:custGeom>
              <a:avLst/>
              <a:gdLst>
                <a:gd name="connsiteX0" fmla="*/ 294186 w 327329"/>
                <a:gd name="connsiteY0" fmla="*/ 61561 h 67259"/>
                <a:gd name="connsiteX1" fmla="*/ 266451 w 327329"/>
                <a:gd name="connsiteY1" fmla="*/ 61561 h 67259"/>
                <a:gd name="connsiteX2" fmla="*/ 270898 w 327329"/>
                <a:gd name="connsiteY2" fmla="*/ 50090 h 67259"/>
                <a:gd name="connsiteX3" fmla="*/ 289441 w 327329"/>
                <a:gd name="connsiteY3" fmla="*/ 50090 h 67259"/>
                <a:gd name="connsiteX4" fmla="*/ 321352 w 327329"/>
                <a:gd name="connsiteY4" fmla="*/ 18170 h 67259"/>
                <a:gd name="connsiteX5" fmla="*/ 320091 w 327329"/>
                <a:gd name="connsiteY5" fmla="*/ 35666 h 67259"/>
                <a:gd name="connsiteX6" fmla="*/ 294186 w 327329"/>
                <a:gd name="connsiteY6" fmla="*/ 61561 h 67259"/>
                <a:gd name="connsiteX7" fmla="*/ 61935 w 327329"/>
                <a:gd name="connsiteY7" fmla="*/ 61561 h 67259"/>
                <a:gd name="connsiteX8" fmla="*/ 45569 w 327329"/>
                <a:gd name="connsiteY8" fmla="*/ 61561 h 67259"/>
                <a:gd name="connsiteX9" fmla="*/ 7193 w 327329"/>
                <a:gd name="connsiteY9" fmla="*/ 23186 h 67259"/>
                <a:gd name="connsiteX10" fmla="*/ 7006 w 327329"/>
                <a:gd name="connsiteY10" fmla="*/ 15488 h 67259"/>
                <a:gd name="connsiteX11" fmla="*/ 7231 w 327329"/>
                <a:gd name="connsiteY11" fmla="*/ 7006 h 67259"/>
                <a:gd name="connsiteX12" fmla="*/ 50314 w 327329"/>
                <a:gd name="connsiteY12" fmla="*/ 50090 h 67259"/>
                <a:gd name="connsiteX13" fmla="*/ 57489 w 327329"/>
                <a:gd name="connsiteY13" fmla="*/ 50090 h 67259"/>
                <a:gd name="connsiteX14" fmla="*/ 61935 w 327329"/>
                <a:gd name="connsiteY14" fmla="*/ 61561 h 67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7329" h="67259">
                  <a:moveTo>
                    <a:pt x="294186" y="61561"/>
                  </a:moveTo>
                  <a:lnTo>
                    <a:pt x="266451" y="61561"/>
                  </a:lnTo>
                  <a:cubicBezTo>
                    <a:pt x="268142" y="57843"/>
                    <a:pt x="269627" y="54013"/>
                    <a:pt x="270898" y="50090"/>
                  </a:cubicBezTo>
                  <a:lnTo>
                    <a:pt x="289441" y="50090"/>
                  </a:lnTo>
                  <a:lnTo>
                    <a:pt x="321352" y="18170"/>
                  </a:lnTo>
                  <a:cubicBezTo>
                    <a:pt x="321258" y="24083"/>
                    <a:pt x="320828" y="29921"/>
                    <a:pt x="320091" y="35666"/>
                  </a:cubicBezTo>
                  <a:lnTo>
                    <a:pt x="294186" y="61561"/>
                  </a:lnTo>
                  <a:close/>
                  <a:moveTo>
                    <a:pt x="61935" y="61561"/>
                  </a:moveTo>
                  <a:lnTo>
                    <a:pt x="45569" y="61561"/>
                  </a:lnTo>
                  <a:lnTo>
                    <a:pt x="7193" y="23186"/>
                  </a:lnTo>
                  <a:cubicBezTo>
                    <a:pt x="7072" y="20636"/>
                    <a:pt x="7006" y="18067"/>
                    <a:pt x="7006" y="15488"/>
                  </a:cubicBezTo>
                  <a:cubicBezTo>
                    <a:pt x="7006" y="12639"/>
                    <a:pt x="7081" y="9809"/>
                    <a:pt x="7231" y="7006"/>
                  </a:cubicBezTo>
                  <a:lnTo>
                    <a:pt x="50314" y="50090"/>
                  </a:lnTo>
                  <a:lnTo>
                    <a:pt x="57489" y="50090"/>
                  </a:lnTo>
                  <a:cubicBezTo>
                    <a:pt x="58768" y="54013"/>
                    <a:pt x="60254" y="57843"/>
                    <a:pt x="61935" y="61561"/>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2" name="Freeform: Shape 13491">
              <a:extLst>
                <a:ext uri="{FF2B5EF4-FFF2-40B4-BE49-F238E27FC236}">
                  <a16:creationId xmlns:a16="http://schemas.microsoft.com/office/drawing/2014/main" id="{A4329765-5B33-4057-89BE-526398E98B26}"/>
                </a:ext>
              </a:extLst>
            </p:cNvPr>
            <p:cNvSpPr/>
            <p:nvPr/>
          </p:nvSpPr>
          <p:spPr bwMode="ltGray">
            <a:xfrm>
              <a:off x="2177342" y="3459359"/>
              <a:ext cx="688290" cy="165907"/>
            </a:xfrm>
            <a:custGeom>
              <a:avLst/>
              <a:gdLst>
                <a:gd name="connsiteX0" fmla="*/ 683106 w 688289"/>
                <a:gd name="connsiteY0" fmla="*/ 160470 h 165906"/>
                <a:gd name="connsiteX1" fmla="*/ 666879 w 688289"/>
                <a:gd name="connsiteY1" fmla="*/ 160470 h 165906"/>
                <a:gd name="connsiteX2" fmla="*/ 597163 w 688289"/>
                <a:gd name="connsiteY2" fmla="*/ 90745 h 165906"/>
                <a:gd name="connsiteX3" fmla="*/ 613389 w 688289"/>
                <a:gd name="connsiteY3" fmla="*/ 90745 h 165906"/>
                <a:gd name="connsiteX4" fmla="*/ 683106 w 688289"/>
                <a:gd name="connsiteY4" fmla="*/ 160470 h 165906"/>
                <a:gd name="connsiteX5" fmla="*/ 602133 w 688289"/>
                <a:gd name="connsiteY5" fmla="*/ 79488 h 165906"/>
                <a:gd name="connsiteX6" fmla="*/ 585906 w 688289"/>
                <a:gd name="connsiteY6" fmla="*/ 79488 h 165906"/>
                <a:gd name="connsiteX7" fmla="*/ 524887 w 688289"/>
                <a:gd name="connsiteY7" fmla="*/ 18478 h 165906"/>
                <a:gd name="connsiteX8" fmla="*/ 440401 w 688289"/>
                <a:gd name="connsiteY8" fmla="*/ 18478 h 165906"/>
                <a:gd name="connsiteX9" fmla="*/ 391713 w 688289"/>
                <a:gd name="connsiteY9" fmla="*/ 18478 h 165906"/>
                <a:gd name="connsiteX10" fmla="*/ 7006 w 688289"/>
                <a:gd name="connsiteY10" fmla="*/ 18478 h 165906"/>
                <a:gd name="connsiteX11" fmla="*/ 7006 w 688289"/>
                <a:gd name="connsiteY11" fmla="*/ 7006 h 165906"/>
                <a:gd name="connsiteX12" fmla="*/ 529642 w 688289"/>
                <a:gd name="connsiteY12" fmla="*/ 7006 h 165906"/>
                <a:gd name="connsiteX13" fmla="*/ 602133 w 688289"/>
                <a:gd name="connsiteY13" fmla="*/ 79488 h 16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8289" h="165906">
                  <a:moveTo>
                    <a:pt x="683106" y="160470"/>
                  </a:moveTo>
                  <a:lnTo>
                    <a:pt x="666879" y="160470"/>
                  </a:lnTo>
                  <a:lnTo>
                    <a:pt x="597163" y="90745"/>
                  </a:lnTo>
                  <a:lnTo>
                    <a:pt x="613389" y="90745"/>
                  </a:lnTo>
                  <a:lnTo>
                    <a:pt x="683106" y="160470"/>
                  </a:lnTo>
                  <a:close/>
                  <a:moveTo>
                    <a:pt x="602133" y="79488"/>
                  </a:moveTo>
                  <a:lnTo>
                    <a:pt x="585906" y="79488"/>
                  </a:lnTo>
                  <a:lnTo>
                    <a:pt x="524887" y="18478"/>
                  </a:lnTo>
                  <a:lnTo>
                    <a:pt x="440401" y="18478"/>
                  </a:lnTo>
                  <a:lnTo>
                    <a:pt x="391713" y="18478"/>
                  </a:lnTo>
                  <a:lnTo>
                    <a:pt x="7006" y="18478"/>
                  </a:lnTo>
                  <a:lnTo>
                    <a:pt x="7006" y="7006"/>
                  </a:lnTo>
                  <a:lnTo>
                    <a:pt x="529642" y="7006"/>
                  </a:lnTo>
                  <a:lnTo>
                    <a:pt x="602133" y="7948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3" name="Freeform: Shape 13492">
              <a:extLst>
                <a:ext uri="{FF2B5EF4-FFF2-40B4-BE49-F238E27FC236}">
                  <a16:creationId xmlns:a16="http://schemas.microsoft.com/office/drawing/2014/main" id="{8B6917BC-EBF9-4D55-AB46-9BC677A8B9D8}"/>
                </a:ext>
              </a:extLst>
            </p:cNvPr>
            <p:cNvSpPr/>
            <p:nvPr/>
          </p:nvSpPr>
          <p:spPr bwMode="ltGray">
            <a:xfrm>
              <a:off x="2756242" y="3531840"/>
              <a:ext cx="40356" cy="24662"/>
            </a:xfrm>
            <a:custGeom>
              <a:avLst/>
              <a:gdLst>
                <a:gd name="connsiteX0" fmla="*/ 34489 w 40355"/>
                <a:gd name="connsiteY0" fmla="*/ 18263 h 24661"/>
                <a:gd name="connsiteX1" fmla="*/ 18263 w 40355"/>
                <a:gd name="connsiteY1" fmla="*/ 18263 h 24661"/>
                <a:gd name="connsiteX2" fmla="*/ 7006 w 40355"/>
                <a:gd name="connsiteY2" fmla="*/ 7006 h 24661"/>
                <a:gd name="connsiteX3" fmla="*/ 23233 w 40355"/>
                <a:gd name="connsiteY3" fmla="*/ 7006 h 24661"/>
                <a:gd name="connsiteX4" fmla="*/ 34489 w 40355"/>
                <a:gd name="connsiteY4" fmla="*/ 18263 h 24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55" h="24661">
                  <a:moveTo>
                    <a:pt x="34489" y="18263"/>
                  </a:moveTo>
                  <a:lnTo>
                    <a:pt x="18263" y="18263"/>
                  </a:lnTo>
                  <a:lnTo>
                    <a:pt x="7006" y="7006"/>
                  </a:lnTo>
                  <a:lnTo>
                    <a:pt x="23233" y="7006"/>
                  </a:lnTo>
                  <a:lnTo>
                    <a:pt x="34489" y="18263"/>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4" name="Freeform: Shape 13493">
              <a:extLst>
                <a:ext uri="{FF2B5EF4-FFF2-40B4-BE49-F238E27FC236}">
                  <a16:creationId xmlns:a16="http://schemas.microsoft.com/office/drawing/2014/main" id="{5964A6E6-12D8-4BD0-9FDB-15A1EC4EC549}"/>
                </a:ext>
              </a:extLst>
            </p:cNvPr>
            <p:cNvSpPr/>
            <p:nvPr/>
          </p:nvSpPr>
          <p:spPr bwMode="ltGray">
            <a:xfrm>
              <a:off x="2837215" y="3612823"/>
              <a:ext cx="47082" cy="29146"/>
            </a:xfrm>
            <a:custGeom>
              <a:avLst/>
              <a:gdLst>
                <a:gd name="connsiteX0" fmla="*/ 40113 w 47081"/>
                <a:gd name="connsiteY0" fmla="*/ 23887 h 29145"/>
                <a:gd name="connsiteX1" fmla="*/ 23887 w 47081"/>
                <a:gd name="connsiteY1" fmla="*/ 23887 h 29145"/>
                <a:gd name="connsiteX2" fmla="*/ 7006 w 47081"/>
                <a:gd name="connsiteY2" fmla="*/ 7006 h 29145"/>
                <a:gd name="connsiteX3" fmla="*/ 23233 w 47081"/>
                <a:gd name="connsiteY3" fmla="*/ 7006 h 29145"/>
                <a:gd name="connsiteX4" fmla="*/ 40113 w 47081"/>
                <a:gd name="connsiteY4" fmla="*/ 23887 h 2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81" h="29145">
                  <a:moveTo>
                    <a:pt x="40113" y="23887"/>
                  </a:moveTo>
                  <a:lnTo>
                    <a:pt x="23887" y="23887"/>
                  </a:lnTo>
                  <a:lnTo>
                    <a:pt x="7006" y="7006"/>
                  </a:lnTo>
                  <a:lnTo>
                    <a:pt x="23233" y="7006"/>
                  </a:lnTo>
                  <a:lnTo>
                    <a:pt x="40113" y="23887"/>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5" name="Freeform: Shape 13494">
              <a:extLst>
                <a:ext uri="{FF2B5EF4-FFF2-40B4-BE49-F238E27FC236}">
                  <a16:creationId xmlns:a16="http://schemas.microsoft.com/office/drawing/2014/main" id="{8307C446-87C2-43A7-AA7F-881016A7667D}"/>
                </a:ext>
              </a:extLst>
            </p:cNvPr>
            <p:cNvSpPr/>
            <p:nvPr/>
          </p:nvSpPr>
          <p:spPr bwMode="ltGray">
            <a:xfrm>
              <a:off x="3756235" y="3319150"/>
              <a:ext cx="33630" cy="26904"/>
            </a:xfrm>
            <a:custGeom>
              <a:avLst/>
              <a:gdLst>
                <a:gd name="connsiteX0" fmla="*/ 23233 w 33629"/>
                <a:gd name="connsiteY0" fmla="*/ 20561 h 26903"/>
                <a:gd name="connsiteX1" fmla="*/ 7006 w 33629"/>
                <a:gd name="connsiteY1" fmla="*/ 20561 h 26903"/>
                <a:gd name="connsiteX2" fmla="*/ 20561 w 33629"/>
                <a:gd name="connsiteY2" fmla="*/ 7006 h 26903"/>
                <a:gd name="connsiteX3" fmla="*/ 28679 w 33629"/>
                <a:gd name="connsiteY3" fmla="*/ 15115 h 26903"/>
                <a:gd name="connsiteX4" fmla="*/ 23233 w 33629"/>
                <a:gd name="connsiteY4" fmla="*/ 20561 h 26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9" h="26903">
                  <a:moveTo>
                    <a:pt x="23233" y="20561"/>
                  </a:moveTo>
                  <a:lnTo>
                    <a:pt x="7006" y="20561"/>
                  </a:lnTo>
                  <a:lnTo>
                    <a:pt x="20561" y="7006"/>
                  </a:lnTo>
                  <a:lnTo>
                    <a:pt x="28679" y="15115"/>
                  </a:lnTo>
                  <a:lnTo>
                    <a:pt x="23233" y="20561"/>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6" name="Freeform: Shape 13495">
              <a:extLst>
                <a:ext uri="{FF2B5EF4-FFF2-40B4-BE49-F238E27FC236}">
                  <a16:creationId xmlns:a16="http://schemas.microsoft.com/office/drawing/2014/main" id="{901AAD4A-D391-4B4B-84B7-10660CA80E4E}"/>
                </a:ext>
              </a:extLst>
            </p:cNvPr>
            <p:cNvSpPr/>
            <p:nvPr/>
          </p:nvSpPr>
          <p:spPr bwMode="ltGray">
            <a:xfrm>
              <a:off x="8569643" y="3116232"/>
              <a:ext cx="968538" cy="58292"/>
            </a:xfrm>
            <a:custGeom>
              <a:avLst/>
              <a:gdLst>
                <a:gd name="connsiteX0" fmla="*/ 7006 w 968538"/>
                <a:gd name="connsiteY0" fmla="*/ 7006 h 58291"/>
                <a:gd name="connsiteX1" fmla="*/ 963327 w 968538"/>
                <a:gd name="connsiteY1" fmla="*/ 7006 h 58291"/>
                <a:gd name="connsiteX2" fmla="*/ 963327 w 968538"/>
                <a:gd name="connsiteY2" fmla="*/ 52911 h 58291"/>
                <a:gd name="connsiteX3" fmla="*/ 7006 w 968538"/>
                <a:gd name="connsiteY3" fmla="*/ 52911 h 58291"/>
              </a:gdLst>
              <a:ahLst/>
              <a:cxnLst>
                <a:cxn ang="0">
                  <a:pos x="connsiteX0" y="connsiteY0"/>
                </a:cxn>
                <a:cxn ang="0">
                  <a:pos x="connsiteX1" y="connsiteY1"/>
                </a:cxn>
                <a:cxn ang="0">
                  <a:pos x="connsiteX2" y="connsiteY2"/>
                </a:cxn>
                <a:cxn ang="0">
                  <a:pos x="connsiteX3" y="connsiteY3"/>
                </a:cxn>
              </a:cxnLst>
              <a:rect l="l" t="t" r="r" b="b"/>
              <a:pathLst>
                <a:path w="968538" h="58291">
                  <a:moveTo>
                    <a:pt x="7006" y="7006"/>
                  </a:moveTo>
                  <a:lnTo>
                    <a:pt x="963327" y="7006"/>
                  </a:lnTo>
                  <a:lnTo>
                    <a:pt x="963327" y="52911"/>
                  </a:lnTo>
                  <a:lnTo>
                    <a:pt x="7006" y="52911"/>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7" name="Freeform: Shape 13496">
              <a:extLst>
                <a:ext uri="{FF2B5EF4-FFF2-40B4-BE49-F238E27FC236}">
                  <a16:creationId xmlns:a16="http://schemas.microsoft.com/office/drawing/2014/main" id="{3F132652-5F5E-403D-A8F2-737B3F6C95D7}"/>
                </a:ext>
              </a:extLst>
            </p:cNvPr>
            <p:cNvSpPr/>
            <p:nvPr/>
          </p:nvSpPr>
          <p:spPr bwMode="ltGray">
            <a:xfrm>
              <a:off x="9384437" y="4000313"/>
              <a:ext cx="360960" cy="47082"/>
            </a:xfrm>
            <a:custGeom>
              <a:avLst/>
              <a:gdLst>
                <a:gd name="connsiteX0" fmla="*/ 354141 w 360959"/>
                <a:gd name="connsiteY0" fmla="*/ 41430 h 47081"/>
                <a:gd name="connsiteX1" fmla="*/ 7006 w 360959"/>
                <a:gd name="connsiteY1" fmla="*/ 41430 h 47081"/>
                <a:gd name="connsiteX2" fmla="*/ 7006 w 360959"/>
                <a:gd name="connsiteY2" fmla="*/ 24223 h 47081"/>
                <a:gd name="connsiteX3" fmla="*/ 7006 w 360959"/>
                <a:gd name="connsiteY3" fmla="*/ 7006 h 47081"/>
                <a:gd name="connsiteX4" fmla="*/ 354141 w 360959"/>
                <a:gd name="connsiteY4" fmla="*/ 7006 h 47081"/>
                <a:gd name="connsiteX5" fmla="*/ 354141 w 360959"/>
                <a:gd name="connsiteY5" fmla="*/ 41430 h 47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959" h="47081">
                  <a:moveTo>
                    <a:pt x="354141" y="41430"/>
                  </a:moveTo>
                  <a:lnTo>
                    <a:pt x="7006" y="41430"/>
                  </a:lnTo>
                  <a:lnTo>
                    <a:pt x="7006" y="24223"/>
                  </a:lnTo>
                  <a:lnTo>
                    <a:pt x="7006" y="7006"/>
                  </a:lnTo>
                  <a:lnTo>
                    <a:pt x="354141" y="7006"/>
                  </a:lnTo>
                  <a:lnTo>
                    <a:pt x="354141" y="41430"/>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8" name="Freeform: Shape 13497">
              <a:extLst>
                <a:ext uri="{FF2B5EF4-FFF2-40B4-BE49-F238E27FC236}">
                  <a16:creationId xmlns:a16="http://schemas.microsoft.com/office/drawing/2014/main" id="{179C047B-12F3-4120-A009-7D1BBE145FE8}"/>
                </a:ext>
              </a:extLst>
            </p:cNvPr>
            <p:cNvSpPr/>
            <p:nvPr/>
          </p:nvSpPr>
          <p:spPr bwMode="ltGray">
            <a:xfrm>
              <a:off x="5673153" y="2590981"/>
              <a:ext cx="3661164" cy="354234"/>
            </a:xfrm>
            <a:custGeom>
              <a:avLst/>
              <a:gdLst>
                <a:gd name="connsiteX0" fmla="*/ 3656290 w 3661163"/>
                <a:gd name="connsiteY0" fmla="*/ 349386 h 354233"/>
                <a:gd name="connsiteX1" fmla="*/ 1322203 w 3661163"/>
                <a:gd name="connsiteY1" fmla="*/ 349386 h 354233"/>
                <a:gd name="connsiteX2" fmla="*/ 1165956 w 3661163"/>
                <a:gd name="connsiteY2" fmla="*/ 193147 h 354233"/>
                <a:gd name="connsiteX3" fmla="*/ 1214644 w 3661163"/>
                <a:gd name="connsiteY3" fmla="*/ 193147 h 354233"/>
                <a:gd name="connsiteX4" fmla="*/ 1336459 w 3661163"/>
                <a:gd name="connsiteY4" fmla="*/ 314953 h 354233"/>
                <a:gd name="connsiteX5" fmla="*/ 3656290 w 3661163"/>
                <a:gd name="connsiteY5" fmla="*/ 314953 h 354233"/>
                <a:gd name="connsiteX6" fmla="*/ 3656290 w 3661163"/>
                <a:gd name="connsiteY6" fmla="*/ 349386 h 354233"/>
                <a:gd name="connsiteX7" fmla="*/ 1191701 w 3661163"/>
                <a:gd name="connsiteY7" fmla="*/ 170195 h 354233"/>
                <a:gd name="connsiteX8" fmla="*/ 1143012 w 3661163"/>
                <a:gd name="connsiteY8" fmla="*/ 170195 h 354233"/>
                <a:gd name="connsiteX9" fmla="*/ 1014238 w 3661163"/>
                <a:gd name="connsiteY9" fmla="*/ 41439 h 354233"/>
                <a:gd name="connsiteX10" fmla="*/ 917104 w 3661163"/>
                <a:gd name="connsiteY10" fmla="*/ 41439 h 354233"/>
                <a:gd name="connsiteX11" fmla="*/ 882680 w 3661163"/>
                <a:gd name="connsiteY11" fmla="*/ 7006 h 354233"/>
                <a:gd name="connsiteX12" fmla="*/ 1028512 w 3661163"/>
                <a:gd name="connsiteY12" fmla="*/ 7006 h 354233"/>
                <a:gd name="connsiteX13" fmla="*/ 1191701 w 3661163"/>
                <a:gd name="connsiteY13" fmla="*/ 170195 h 354233"/>
                <a:gd name="connsiteX14" fmla="*/ 884651 w 3661163"/>
                <a:gd name="connsiteY14" fmla="*/ 41439 h 354233"/>
                <a:gd name="connsiteX15" fmla="*/ 810489 w 3661163"/>
                <a:gd name="connsiteY15" fmla="*/ 41439 h 354233"/>
                <a:gd name="connsiteX16" fmla="*/ 844921 w 3661163"/>
                <a:gd name="connsiteY16" fmla="*/ 7006 h 354233"/>
                <a:gd name="connsiteX17" fmla="*/ 850227 w 3661163"/>
                <a:gd name="connsiteY17" fmla="*/ 7006 h 354233"/>
                <a:gd name="connsiteX18" fmla="*/ 884651 w 3661163"/>
                <a:gd name="connsiteY18" fmla="*/ 41439 h 354233"/>
                <a:gd name="connsiteX19" fmla="*/ 794252 w 3661163"/>
                <a:gd name="connsiteY19" fmla="*/ 41439 h 354233"/>
                <a:gd name="connsiteX20" fmla="*/ 7006 w 3661163"/>
                <a:gd name="connsiteY20" fmla="*/ 41439 h 354233"/>
                <a:gd name="connsiteX21" fmla="*/ 7006 w 3661163"/>
                <a:gd name="connsiteY21" fmla="*/ 7006 h 354233"/>
                <a:gd name="connsiteX22" fmla="*/ 828686 w 3661163"/>
                <a:gd name="connsiteY22" fmla="*/ 7006 h 354233"/>
                <a:gd name="connsiteX23" fmla="*/ 794252 w 3661163"/>
                <a:gd name="connsiteY23" fmla="*/ 41439 h 35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61163" h="354233">
                  <a:moveTo>
                    <a:pt x="3656290" y="349386"/>
                  </a:moveTo>
                  <a:lnTo>
                    <a:pt x="1322203" y="349386"/>
                  </a:lnTo>
                  <a:lnTo>
                    <a:pt x="1165956" y="193147"/>
                  </a:lnTo>
                  <a:lnTo>
                    <a:pt x="1214644" y="193147"/>
                  </a:lnTo>
                  <a:lnTo>
                    <a:pt x="1336459" y="314953"/>
                  </a:lnTo>
                  <a:lnTo>
                    <a:pt x="3656290" y="314953"/>
                  </a:lnTo>
                  <a:lnTo>
                    <a:pt x="3656290" y="349386"/>
                  </a:lnTo>
                  <a:close/>
                  <a:moveTo>
                    <a:pt x="1191701" y="170195"/>
                  </a:moveTo>
                  <a:lnTo>
                    <a:pt x="1143012" y="170195"/>
                  </a:lnTo>
                  <a:lnTo>
                    <a:pt x="1014238" y="41439"/>
                  </a:lnTo>
                  <a:lnTo>
                    <a:pt x="917104" y="41439"/>
                  </a:lnTo>
                  <a:lnTo>
                    <a:pt x="882680" y="7006"/>
                  </a:lnTo>
                  <a:lnTo>
                    <a:pt x="1028512" y="7006"/>
                  </a:lnTo>
                  <a:lnTo>
                    <a:pt x="1191701" y="170195"/>
                  </a:lnTo>
                  <a:close/>
                  <a:moveTo>
                    <a:pt x="884651" y="41439"/>
                  </a:moveTo>
                  <a:lnTo>
                    <a:pt x="810489" y="41439"/>
                  </a:lnTo>
                  <a:lnTo>
                    <a:pt x="844921" y="7006"/>
                  </a:lnTo>
                  <a:lnTo>
                    <a:pt x="850227" y="7006"/>
                  </a:lnTo>
                  <a:lnTo>
                    <a:pt x="884651" y="41439"/>
                  </a:lnTo>
                  <a:close/>
                  <a:moveTo>
                    <a:pt x="794252" y="41439"/>
                  </a:moveTo>
                  <a:lnTo>
                    <a:pt x="7006" y="41439"/>
                  </a:lnTo>
                  <a:lnTo>
                    <a:pt x="7006" y="7006"/>
                  </a:lnTo>
                  <a:lnTo>
                    <a:pt x="828686" y="7006"/>
                  </a:lnTo>
                  <a:lnTo>
                    <a:pt x="794252" y="41439"/>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499" name="Freeform: Shape 13498">
              <a:extLst>
                <a:ext uri="{FF2B5EF4-FFF2-40B4-BE49-F238E27FC236}">
                  <a16:creationId xmlns:a16="http://schemas.microsoft.com/office/drawing/2014/main" id="{6A11BF2A-6EB5-4A18-9CA6-73299EA71496}"/>
                </a:ext>
              </a:extLst>
            </p:cNvPr>
            <p:cNvSpPr/>
            <p:nvPr/>
          </p:nvSpPr>
          <p:spPr bwMode="ltGray">
            <a:xfrm>
              <a:off x="5436605" y="2270115"/>
              <a:ext cx="2246470" cy="511173"/>
            </a:xfrm>
            <a:custGeom>
              <a:avLst/>
              <a:gdLst>
                <a:gd name="connsiteX0" fmla="*/ 904539 w 2246470"/>
                <a:gd name="connsiteY0" fmla="*/ 504802 h 511172"/>
                <a:gd name="connsiteX1" fmla="*/ 7006 w 2246470"/>
                <a:gd name="connsiteY1" fmla="*/ 504802 h 511172"/>
                <a:gd name="connsiteX2" fmla="*/ 7006 w 2246470"/>
                <a:gd name="connsiteY2" fmla="*/ 493322 h 511172"/>
                <a:gd name="connsiteX3" fmla="*/ 899785 w 2246470"/>
                <a:gd name="connsiteY3" fmla="*/ 493322 h 511172"/>
                <a:gd name="connsiteX4" fmla="*/ 1030800 w 2246470"/>
                <a:gd name="connsiteY4" fmla="*/ 362305 h 511172"/>
                <a:gd name="connsiteX5" fmla="*/ 1065234 w 2246470"/>
                <a:gd name="connsiteY5" fmla="*/ 327872 h 511172"/>
                <a:gd name="connsiteX6" fmla="*/ 1076005 w 2246470"/>
                <a:gd name="connsiteY6" fmla="*/ 317101 h 511172"/>
                <a:gd name="connsiteX7" fmla="*/ 1084123 w 2246470"/>
                <a:gd name="connsiteY7" fmla="*/ 325219 h 511172"/>
                <a:gd name="connsiteX8" fmla="*/ 1081470 w 2246470"/>
                <a:gd name="connsiteY8" fmla="*/ 327872 h 511172"/>
                <a:gd name="connsiteX9" fmla="*/ 1047037 w 2246470"/>
                <a:gd name="connsiteY9" fmla="*/ 362305 h 511172"/>
                <a:gd name="connsiteX10" fmla="*/ 904539 w 2246470"/>
                <a:gd name="connsiteY10" fmla="*/ 504802 h 511172"/>
                <a:gd name="connsiteX11" fmla="*/ 1100349 w 2246470"/>
                <a:gd name="connsiteY11" fmla="*/ 308993 h 511172"/>
                <a:gd name="connsiteX12" fmla="*/ 1092231 w 2246470"/>
                <a:gd name="connsiteY12" fmla="*/ 300875 h 511172"/>
                <a:gd name="connsiteX13" fmla="*/ 1386100 w 2246470"/>
                <a:gd name="connsiteY13" fmla="*/ 7006 h 511172"/>
                <a:gd name="connsiteX14" fmla="*/ 2240325 w 2246470"/>
                <a:gd name="connsiteY14" fmla="*/ 7006 h 511172"/>
                <a:gd name="connsiteX15" fmla="*/ 2240325 w 2246470"/>
                <a:gd name="connsiteY15" fmla="*/ 18487 h 511172"/>
                <a:gd name="connsiteX16" fmla="*/ 1390845 w 2246470"/>
                <a:gd name="connsiteY16" fmla="*/ 18487 h 511172"/>
                <a:gd name="connsiteX17" fmla="*/ 1100349 w 2246470"/>
                <a:gd name="connsiteY17" fmla="*/ 308993 h 511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46470" h="511172">
                  <a:moveTo>
                    <a:pt x="904539" y="504802"/>
                  </a:moveTo>
                  <a:lnTo>
                    <a:pt x="7006" y="504802"/>
                  </a:lnTo>
                  <a:lnTo>
                    <a:pt x="7006" y="493322"/>
                  </a:lnTo>
                  <a:lnTo>
                    <a:pt x="899785" y="493322"/>
                  </a:lnTo>
                  <a:lnTo>
                    <a:pt x="1030800" y="362305"/>
                  </a:lnTo>
                  <a:lnTo>
                    <a:pt x="1065234" y="327872"/>
                  </a:lnTo>
                  <a:lnTo>
                    <a:pt x="1076005" y="317101"/>
                  </a:lnTo>
                  <a:lnTo>
                    <a:pt x="1084123" y="325219"/>
                  </a:lnTo>
                  <a:lnTo>
                    <a:pt x="1081470" y="327872"/>
                  </a:lnTo>
                  <a:lnTo>
                    <a:pt x="1047037" y="362305"/>
                  </a:lnTo>
                  <a:lnTo>
                    <a:pt x="904539" y="504802"/>
                  </a:lnTo>
                  <a:close/>
                  <a:moveTo>
                    <a:pt x="1100349" y="308993"/>
                  </a:moveTo>
                  <a:lnTo>
                    <a:pt x="1092231" y="300875"/>
                  </a:lnTo>
                  <a:lnTo>
                    <a:pt x="1386100" y="7006"/>
                  </a:lnTo>
                  <a:lnTo>
                    <a:pt x="2240325" y="7006"/>
                  </a:lnTo>
                  <a:lnTo>
                    <a:pt x="2240325" y="18487"/>
                  </a:lnTo>
                  <a:lnTo>
                    <a:pt x="1390845" y="18487"/>
                  </a:lnTo>
                  <a:lnTo>
                    <a:pt x="1100349" y="308993"/>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0" name="Freeform: Shape 13499">
              <a:extLst>
                <a:ext uri="{FF2B5EF4-FFF2-40B4-BE49-F238E27FC236}">
                  <a16:creationId xmlns:a16="http://schemas.microsoft.com/office/drawing/2014/main" id="{E604EEC5-A6FE-41B0-8EEF-A08AC7B7C70B}"/>
                </a:ext>
              </a:extLst>
            </p:cNvPr>
            <p:cNvSpPr/>
            <p:nvPr/>
          </p:nvSpPr>
          <p:spPr bwMode="ltGray">
            <a:xfrm>
              <a:off x="5608752" y="2344241"/>
              <a:ext cx="3181379" cy="446155"/>
            </a:xfrm>
            <a:custGeom>
              <a:avLst/>
              <a:gdLst>
                <a:gd name="connsiteX0" fmla="*/ 3174468 w 3181378"/>
                <a:gd name="connsiteY0" fmla="*/ 439887 h 446155"/>
                <a:gd name="connsiteX1" fmla="*/ 1279045 w 3181378"/>
                <a:gd name="connsiteY1" fmla="*/ 439887 h 446155"/>
                <a:gd name="connsiteX2" fmla="*/ 1230357 w 3181378"/>
                <a:gd name="connsiteY2" fmla="*/ 439887 h 446155"/>
                <a:gd name="connsiteX3" fmla="*/ 1100770 w 3181378"/>
                <a:gd name="connsiteY3" fmla="*/ 439887 h 446155"/>
                <a:gd name="connsiteX4" fmla="*/ 949052 w 3181378"/>
                <a:gd name="connsiteY4" fmla="*/ 288179 h 446155"/>
                <a:gd name="connsiteX5" fmla="*/ 914628 w 3181378"/>
                <a:gd name="connsiteY5" fmla="*/ 253746 h 446155"/>
                <a:gd name="connsiteX6" fmla="*/ 911975 w 3181378"/>
                <a:gd name="connsiteY6" fmla="*/ 251093 h 446155"/>
                <a:gd name="connsiteX7" fmla="*/ 903857 w 3181378"/>
                <a:gd name="connsiteY7" fmla="*/ 242975 h 446155"/>
                <a:gd name="connsiteX8" fmla="*/ 690841 w 3181378"/>
                <a:gd name="connsiteY8" fmla="*/ 29959 h 446155"/>
                <a:gd name="connsiteX9" fmla="*/ 7006 w 3181378"/>
                <a:gd name="connsiteY9" fmla="*/ 29959 h 446155"/>
                <a:gd name="connsiteX10" fmla="*/ 7006 w 3181378"/>
                <a:gd name="connsiteY10" fmla="*/ 7006 h 446155"/>
                <a:gd name="connsiteX11" fmla="*/ 700332 w 3181378"/>
                <a:gd name="connsiteY11" fmla="*/ 7006 h 446155"/>
                <a:gd name="connsiteX12" fmla="*/ 920084 w 3181378"/>
                <a:gd name="connsiteY12" fmla="*/ 226749 h 446155"/>
                <a:gd name="connsiteX13" fmla="*/ 928202 w 3181378"/>
                <a:gd name="connsiteY13" fmla="*/ 234867 h 446155"/>
                <a:gd name="connsiteX14" fmla="*/ 947081 w 3181378"/>
                <a:gd name="connsiteY14" fmla="*/ 253746 h 446155"/>
                <a:gd name="connsiteX15" fmla="*/ 981505 w 3181378"/>
                <a:gd name="connsiteY15" fmla="*/ 288179 h 446155"/>
                <a:gd name="connsiteX16" fmla="*/ 1110270 w 3181378"/>
                <a:gd name="connsiteY16" fmla="*/ 416935 h 446155"/>
                <a:gd name="connsiteX17" fmla="*/ 3174468 w 3181378"/>
                <a:gd name="connsiteY17" fmla="*/ 416935 h 446155"/>
                <a:gd name="connsiteX18" fmla="*/ 3174468 w 3181378"/>
                <a:gd name="connsiteY18" fmla="*/ 439887 h 446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81378" h="446155">
                  <a:moveTo>
                    <a:pt x="3174468" y="439887"/>
                  </a:moveTo>
                  <a:lnTo>
                    <a:pt x="1279045" y="439887"/>
                  </a:lnTo>
                  <a:lnTo>
                    <a:pt x="1230357" y="439887"/>
                  </a:lnTo>
                  <a:lnTo>
                    <a:pt x="1100770" y="439887"/>
                  </a:lnTo>
                  <a:lnTo>
                    <a:pt x="949052" y="288179"/>
                  </a:lnTo>
                  <a:lnTo>
                    <a:pt x="914628" y="253746"/>
                  </a:lnTo>
                  <a:lnTo>
                    <a:pt x="911975" y="251093"/>
                  </a:lnTo>
                  <a:lnTo>
                    <a:pt x="903857" y="242975"/>
                  </a:lnTo>
                  <a:lnTo>
                    <a:pt x="690841" y="29959"/>
                  </a:lnTo>
                  <a:lnTo>
                    <a:pt x="7006" y="29959"/>
                  </a:lnTo>
                  <a:lnTo>
                    <a:pt x="7006" y="7006"/>
                  </a:lnTo>
                  <a:lnTo>
                    <a:pt x="700332" y="7006"/>
                  </a:lnTo>
                  <a:lnTo>
                    <a:pt x="920084" y="226749"/>
                  </a:lnTo>
                  <a:lnTo>
                    <a:pt x="928202" y="234867"/>
                  </a:lnTo>
                  <a:lnTo>
                    <a:pt x="947081" y="253746"/>
                  </a:lnTo>
                  <a:lnTo>
                    <a:pt x="981505" y="288179"/>
                  </a:lnTo>
                  <a:lnTo>
                    <a:pt x="1110270" y="416935"/>
                  </a:lnTo>
                  <a:lnTo>
                    <a:pt x="3174468" y="416935"/>
                  </a:lnTo>
                  <a:lnTo>
                    <a:pt x="3174468" y="439887"/>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1" name="Freeform: Shape 13500">
              <a:extLst>
                <a:ext uri="{FF2B5EF4-FFF2-40B4-BE49-F238E27FC236}">
                  <a16:creationId xmlns:a16="http://schemas.microsoft.com/office/drawing/2014/main" id="{89A74766-C73D-4AFC-AC57-5337F87BA493}"/>
                </a:ext>
              </a:extLst>
            </p:cNvPr>
            <p:cNvSpPr/>
            <p:nvPr/>
          </p:nvSpPr>
          <p:spPr bwMode="ltGray">
            <a:xfrm>
              <a:off x="7389414" y="4588788"/>
              <a:ext cx="2354086" cy="199537"/>
            </a:xfrm>
            <a:custGeom>
              <a:avLst/>
              <a:gdLst>
                <a:gd name="connsiteX0" fmla="*/ 506745 w 2354085"/>
                <a:gd name="connsiteY0" fmla="*/ 193278 h 199536"/>
                <a:gd name="connsiteX1" fmla="*/ 7006 w 2354085"/>
                <a:gd name="connsiteY1" fmla="*/ 193278 h 199536"/>
                <a:gd name="connsiteX2" fmla="*/ 7006 w 2354085"/>
                <a:gd name="connsiteY2" fmla="*/ 176024 h 199536"/>
                <a:gd name="connsiteX3" fmla="*/ 499590 w 2354085"/>
                <a:gd name="connsiteY3" fmla="*/ 176024 h 199536"/>
                <a:gd name="connsiteX4" fmla="*/ 668608 w 2354085"/>
                <a:gd name="connsiteY4" fmla="*/ 7006 h 199536"/>
                <a:gd name="connsiteX5" fmla="*/ 2349165 w 2354085"/>
                <a:gd name="connsiteY5" fmla="*/ 7006 h 199536"/>
                <a:gd name="connsiteX6" fmla="*/ 2349165 w 2354085"/>
                <a:gd name="connsiteY6" fmla="*/ 24269 h 199536"/>
                <a:gd name="connsiteX7" fmla="*/ 675763 w 2354085"/>
                <a:gd name="connsiteY7" fmla="*/ 24269 h 199536"/>
                <a:gd name="connsiteX8" fmla="*/ 506745 w 2354085"/>
                <a:gd name="connsiteY8" fmla="*/ 193278 h 19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4085" h="199536">
                  <a:moveTo>
                    <a:pt x="506745" y="193278"/>
                  </a:moveTo>
                  <a:lnTo>
                    <a:pt x="7006" y="193278"/>
                  </a:lnTo>
                  <a:lnTo>
                    <a:pt x="7006" y="176024"/>
                  </a:lnTo>
                  <a:lnTo>
                    <a:pt x="499590" y="176024"/>
                  </a:lnTo>
                  <a:lnTo>
                    <a:pt x="668608" y="7006"/>
                  </a:lnTo>
                  <a:lnTo>
                    <a:pt x="2349165" y="7006"/>
                  </a:lnTo>
                  <a:lnTo>
                    <a:pt x="2349165" y="24269"/>
                  </a:lnTo>
                  <a:lnTo>
                    <a:pt x="675763" y="24269"/>
                  </a:lnTo>
                  <a:lnTo>
                    <a:pt x="506745" y="1932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2" name="Freeform: Shape 13501">
              <a:extLst>
                <a:ext uri="{FF2B5EF4-FFF2-40B4-BE49-F238E27FC236}">
                  <a16:creationId xmlns:a16="http://schemas.microsoft.com/office/drawing/2014/main" id="{95466864-B48E-44C5-9F67-108B926D944A}"/>
                </a:ext>
              </a:extLst>
            </p:cNvPr>
            <p:cNvSpPr/>
            <p:nvPr/>
          </p:nvSpPr>
          <p:spPr bwMode="ltGray">
            <a:xfrm>
              <a:off x="8198566" y="4749221"/>
              <a:ext cx="1275690" cy="47082"/>
            </a:xfrm>
            <a:custGeom>
              <a:avLst/>
              <a:gdLst>
                <a:gd name="connsiteX0" fmla="*/ 7006 w 1275690"/>
                <a:gd name="connsiteY0" fmla="*/ 7006 h 47081"/>
                <a:gd name="connsiteX1" fmla="*/ 1269386 w 1275690"/>
                <a:gd name="connsiteY1" fmla="*/ 7006 h 47081"/>
                <a:gd name="connsiteX2" fmla="*/ 1269386 w 1275690"/>
                <a:gd name="connsiteY2" fmla="*/ 41430 h 47081"/>
                <a:gd name="connsiteX3" fmla="*/ 7006 w 1275690"/>
                <a:gd name="connsiteY3" fmla="*/ 41430 h 47081"/>
              </a:gdLst>
              <a:ahLst/>
              <a:cxnLst>
                <a:cxn ang="0">
                  <a:pos x="connsiteX0" y="connsiteY0"/>
                </a:cxn>
                <a:cxn ang="0">
                  <a:pos x="connsiteX1" y="connsiteY1"/>
                </a:cxn>
                <a:cxn ang="0">
                  <a:pos x="connsiteX2" y="connsiteY2"/>
                </a:cxn>
                <a:cxn ang="0">
                  <a:pos x="connsiteX3" y="connsiteY3"/>
                </a:cxn>
              </a:cxnLst>
              <a:rect l="l" t="t" r="r" b="b"/>
              <a:pathLst>
                <a:path w="1275690" h="47081">
                  <a:moveTo>
                    <a:pt x="7006" y="7006"/>
                  </a:moveTo>
                  <a:lnTo>
                    <a:pt x="1269386" y="7006"/>
                  </a:lnTo>
                  <a:lnTo>
                    <a:pt x="1269386" y="41430"/>
                  </a:lnTo>
                  <a:lnTo>
                    <a:pt x="7006" y="41430"/>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3" name="Freeform: Shape 13502">
              <a:extLst>
                <a:ext uri="{FF2B5EF4-FFF2-40B4-BE49-F238E27FC236}">
                  <a16:creationId xmlns:a16="http://schemas.microsoft.com/office/drawing/2014/main" id="{F903462F-FBBF-43B3-989A-C8C91986098C}"/>
                </a:ext>
              </a:extLst>
            </p:cNvPr>
            <p:cNvSpPr/>
            <p:nvPr/>
          </p:nvSpPr>
          <p:spPr bwMode="ltGray">
            <a:xfrm>
              <a:off x="3562144" y="2063077"/>
              <a:ext cx="717436" cy="24662"/>
            </a:xfrm>
            <a:custGeom>
              <a:avLst/>
              <a:gdLst>
                <a:gd name="connsiteX0" fmla="*/ 710888 w 717435"/>
                <a:gd name="connsiteY0" fmla="*/ 18478 h 24661"/>
                <a:gd name="connsiteX1" fmla="*/ 390003 w 717435"/>
                <a:gd name="connsiteY1" fmla="*/ 18478 h 24661"/>
                <a:gd name="connsiteX2" fmla="*/ 401475 w 717435"/>
                <a:gd name="connsiteY2" fmla="*/ 7006 h 24661"/>
                <a:gd name="connsiteX3" fmla="*/ 710888 w 717435"/>
                <a:gd name="connsiteY3" fmla="*/ 7006 h 24661"/>
                <a:gd name="connsiteX4" fmla="*/ 710888 w 717435"/>
                <a:gd name="connsiteY4" fmla="*/ 18478 h 24661"/>
                <a:gd name="connsiteX5" fmla="*/ 373777 w 717435"/>
                <a:gd name="connsiteY5" fmla="*/ 18478 h 24661"/>
                <a:gd name="connsiteX6" fmla="*/ 7006 w 717435"/>
                <a:gd name="connsiteY6" fmla="*/ 18478 h 24661"/>
                <a:gd name="connsiteX7" fmla="*/ 7006 w 717435"/>
                <a:gd name="connsiteY7" fmla="*/ 7006 h 24661"/>
                <a:gd name="connsiteX8" fmla="*/ 385248 w 717435"/>
                <a:gd name="connsiteY8" fmla="*/ 7006 h 24661"/>
                <a:gd name="connsiteX9" fmla="*/ 373777 w 717435"/>
                <a:gd name="connsiteY9" fmla="*/ 18478 h 24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7435" h="24661">
                  <a:moveTo>
                    <a:pt x="710888" y="18478"/>
                  </a:moveTo>
                  <a:lnTo>
                    <a:pt x="390003" y="18478"/>
                  </a:lnTo>
                  <a:lnTo>
                    <a:pt x="401475" y="7006"/>
                  </a:lnTo>
                  <a:lnTo>
                    <a:pt x="710888" y="7006"/>
                  </a:lnTo>
                  <a:lnTo>
                    <a:pt x="710888" y="18478"/>
                  </a:lnTo>
                  <a:close/>
                  <a:moveTo>
                    <a:pt x="373777" y="18478"/>
                  </a:moveTo>
                  <a:lnTo>
                    <a:pt x="7006" y="18478"/>
                  </a:lnTo>
                  <a:lnTo>
                    <a:pt x="7006" y="7006"/>
                  </a:lnTo>
                  <a:lnTo>
                    <a:pt x="385248" y="7006"/>
                  </a:lnTo>
                  <a:lnTo>
                    <a:pt x="373777"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4" name="Freeform: Shape 13503">
              <a:extLst>
                <a:ext uri="{FF2B5EF4-FFF2-40B4-BE49-F238E27FC236}">
                  <a16:creationId xmlns:a16="http://schemas.microsoft.com/office/drawing/2014/main" id="{848C8C04-F858-478D-AEB4-14436A63F2D2}"/>
                </a:ext>
              </a:extLst>
            </p:cNvPr>
            <p:cNvSpPr/>
            <p:nvPr/>
          </p:nvSpPr>
          <p:spPr bwMode="ltGray">
            <a:xfrm>
              <a:off x="5126752" y="2958228"/>
              <a:ext cx="80712" cy="24662"/>
            </a:xfrm>
            <a:custGeom>
              <a:avLst/>
              <a:gdLst>
                <a:gd name="connsiteX0" fmla="*/ 7006 w 80711"/>
                <a:gd name="connsiteY0" fmla="*/ 7006 h 24661"/>
                <a:gd name="connsiteX1" fmla="*/ 75863 w 80711"/>
                <a:gd name="connsiteY1" fmla="*/ 7006 h 24661"/>
                <a:gd name="connsiteX2" fmla="*/ 75863 w 80711"/>
                <a:gd name="connsiteY2" fmla="*/ 18478 h 24661"/>
                <a:gd name="connsiteX3" fmla="*/ 7006 w 80711"/>
                <a:gd name="connsiteY3" fmla="*/ 18478 h 24661"/>
              </a:gdLst>
              <a:ahLst/>
              <a:cxnLst>
                <a:cxn ang="0">
                  <a:pos x="connsiteX0" y="connsiteY0"/>
                </a:cxn>
                <a:cxn ang="0">
                  <a:pos x="connsiteX1" y="connsiteY1"/>
                </a:cxn>
                <a:cxn ang="0">
                  <a:pos x="connsiteX2" y="connsiteY2"/>
                </a:cxn>
                <a:cxn ang="0">
                  <a:pos x="connsiteX3" y="connsiteY3"/>
                </a:cxn>
              </a:cxnLst>
              <a:rect l="l" t="t" r="r" b="b"/>
              <a:pathLst>
                <a:path w="80711" h="24661">
                  <a:moveTo>
                    <a:pt x="7006" y="7006"/>
                  </a:moveTo>
                  <a:lnTo>
                    <a:pt x="75863" y="7006"/>
                  </a:lnTo>
                  <a:lnTo>
                    <a:pt x="75863"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5" name="Freeform: Shape 13504">
              <a:extLst>
                <a:ext uri="{FF2B5EF4-FFF2-40B4-BE49-F238E27FC236}">
                  <a16:creationId xmlns:a16="http://schemas.microsoft.com/office/drawing/2014/main" id="{1A5C43CA-62B1-450D-81FA-1D955A35E8F0}"/>
                </a:ext>
              </a:extLst>
            </p:cNvPr>
            <p:cNvSpPr/>
            <p:nvPr/>
          </p:nvSpPr>
          <p:spPr bwMode="ltGray">
            <a:xfrm>
              <a:off x="6463566" y="2958228"/>
              <a:ext cx="154697" cy="24662"/>
            </a:xfrm>
            <a:custGeom>
              <a:avLst/>
              <a:gdLst>
                <a:gd name="connsiteX0" fmla="*/ 7006 w 154697"/>
                <a:gd name="connsiteY0" fmla="*/ 7006 h 24661"/>
                <a:gd name="connsiteX1" fmla="*/ 147887 w 154697"/>
                <a:gd name="connsiteY1" fmla="*/ 7006 h 24661"/>
                <a:gd name="connsiteX2" fmla="*/ 147887 w 154697"/>
                <a:gd name="connsiteY2" fmla="*/ 18478 h 24661"/>
                <a:gd name="connsiteX3" fmla="*/ 7006 w 154697"/>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4697" h="24661">
                  <a:moveTo>
                    <a:pt x="7006" y="7006"/>
                  </a:moveTo>
                  <a:lnTo>
                    <a:pt x="147887" y="7006"/>
                  </a:lnTo>
                  <a:lnTo>
                    <a:pt x="147887"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6" name="Freeform: Shape 13505">
              <a:extLst>
                <a:ext uri="{FF2B5EF4-FFF2-40B4-BE49-F238E27FC236}">
                  <a16:creationId xmlns:a16="http://schemas.microsoft.com/office/drawing/2014/main" id="{FA735DCF-094E-466F-A832-16E2761B6CBC}"/>
                </a:ext>
              </a:extLst>
            </p:cNvPr>
            <p:cNvSpPr/>
            <p:nvPr/>
          </p:nvSpPr>
          <p:spPr bwMode="ltGray">
            <a:xfrm>
              <a:off x="5336490" y="2958228"/>
              <a:ext cx="154697" cy="24662"/>
            </a:xfrm>
            <a:custGeom>
              <a:avLst/>
              <a:gdLst>
                <a:gd name="connsiteX0" fmla="*/ 7006 w 154697"/>
                <a:gd name="connsiteY0" fmla="*/ 7006 h 24661"/>
                <a:gd name="connsiteX1" fmla="*/ 147887 w 154697"/>
                <a:gd name="connsiteY1" fmla="*/ 7006 h 24661"/>
                <a:gd name="connsiteX2" fmla="*/ 147887 w 154697"/>
                <a:gd name="connsiteY2" fmla="*/ 18478 h 24661"/>
                <a:gd name="connsiteX3" fmla="*/ 7006 w 154697"/>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4697" h="24661">
                  <a:moveTo>
                    <a:pt x="7006" y="7006"/>
                  </a:moveTo>
                  <a:lnTo>
                    <a:pt x="147887" y="7006"/>
                  </a:lnTo>
                  <a:lnTo>
                    <a:pt x="147887"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7" name="Freeform: Shape 13506">
              <a:extLst>
                <a:ext uri="{FF2B5EF4-FFF2-40B4-BE49-F238E27FC236}">
                  <a16:creationId xmlns:a16="http://schemas.microsoft.com/office/drawing/2014/main" id="{D5666F8C-4E26-4DC0-B96B-CDC7F86DF54F}"/>
                </a:ext>
              </a:extLst>
            </p:cNvPr>
            <p:cNvSpPr/>
            <p:nvPr/>
          </p:nvSpPr>
          <p:spPr bwMode="ltGray">
            <a:xfrm>
              <a:off x="6181804" y="2958228"/>
              <a:ext cx="154697" cy="24662"/>
            </a:xfrm>
            <a:custGeom>
              <a:avLst/>
              <a:gdLst>
                <a:gd name="connsiteX0" fmla="*/ 7006 w 154697"/>
                <a:gd name="connsiteY0" fmla="*/ 7006 h 24661"/>
                <a:gd name="connsiteX1" fmla="*/ 147878 w 154697"/>
                <a:gd name="connsiteY1" fmla="*/ 7006 h 24661"/>
                <a:gd name="connsiteX2" fmla="*/ 147878 w 154697"/>
                <a:gd name="connsiteY2" fmla="*/ 18478 h 24661"/>
                <a:gd name="connsiteX3" fmla="*/ 7006 w 154697"/>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4697" h="24661">
                  <a:moveTo>
                    <a:pt x="7006" y="7006"/>
                  </a:moveTo>
                  <a:lnTo>
                    <a:pt x="147878" y="7006"/>
                  </a:lnTo>
                  <a:lnTo>
                    <a:pt x="147878"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8" name="Freeform: Shape 13507">
              <a:extLst>
                <a:ext uri="{FF2B5EF4-FFF2-40B4-BE49-F238E27FC236}">
                  <a16:creationId xmlns:a16="http://schemas.microsoft.com/office/drawing/2014/main" id="{3D7F3628-146F-416F-AEF6-3AD7409D0448}"/>
                </a:ext>
              </a:extLst>
            </p:cNvPr>
            <p:cNvSpPr/>
            <p:nvPr/>
          </p:nvSpPr>
          <p:spPr bwMode="ltGray">
            <a:xfrm>
              <a:off x="5618262" y="2958228"/>
              <a:ext cx="154697" cy="24662"/>
            </a:xfrm>
            <a:custGeom>
              <a:avLst/>
              <a:gdLst>
                <a:gd name="connsiteX0" fmla="*/ 7006 w 154697"/>
                <a:gd name="connsiteY0" fmla="*/ 7006 h 24661"/>
                <a:gd name="connsiteX1" fmla="*/ 147887 w 154697"/>
                <a:gd name="connsiteY1" fmla="*/ 7006 h 24661"/>
                <a:gd name="connsiteX2" fmla="*/ 147887 w 154697"/>
                <a:gd name="connsiteY2" fmla="*/ 18478 h 24661"/>
                <a:gd name="connsiteX3" fmla="*/ 7006 w 154697"/>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4697" h="24661">
                  <a:moveTo>
                    <a:pt x="7006" y="7006"/>
                  </a:moveTo>
                  <a:lnTo>
                    <a:pt x="147887" y="7006"/>
                  </a:lnTo>
                  <a:lnTo>
                    <a:pt x="147887"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09" name="Freeform: Shape 13508">
              <a:extLst>
                <a:ext uri="{FF2B5EF4-FFF2-40B4-BE49-F238E27FC236}">
                  <a16:creationId xmlns:a16="http://schemas.microsoft.com/office/drawing/2014/main" id="{F0578C82-D8AA-4431-B2D0-1A2A6F068B23}"/>
                </a:ext>
              </a:extLst>
            </p:cNvPr>
            <p:cNvSpPr/>
            <p:nvPr/>
          </p:nvSpPr>
          <p:spPr bwMode="ltGray">
            <a:xfrm>
              <a:off x="5900024" y="2958228"/>
              <a:ext cx="154697" cy="24662"/>
            </a:xfrm>
            <a:custGeom>
              <a:avLst/>
              <a:gdLst>
                <a:gd name="connsiteX0" fmla="*/ 7006 w 154697"/>
                <a:gd name="connsiteY0" fmla="*/ 7006 h 24661"/>
                <a:gd name="connsiteX1" fmla="*/ 147887 w 154697"/>
                <a:gd name="connsiteY1" fmla="*/ 7006 h 24661"/>
                <a:gd name="connsiteX2" fmla="*/ 147887 w 154697"/>
                <a:gd name="connsiteY2" fmla="*/ 18478 h 24661"/>
                <a:gd name="connsiteX3" fmla="*/ 7006 w 154697"/>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4697" h="24661">
                  <a:moveTo>
                    <a:pt x="7006" y="7006"/>
                  </a:moveTo>
                  <a:lnTo>
                    <a:pt x="147887" y="7006"/>
                  </a:lnTo>
                  <a:lnTo>
                    <a:pt x="147887"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0" name="Freeform: Shape 13509">
              <a:extLst>
                <a:ext uri="{FF2B5EF4-FFF2-40B4-BE49-F238E27FC236}">
                  <a16:creationId xmlns:a16="http://schemas.microsoft.com/office/drawing/2014/main" id="{3A3C34C8-28DD-4A9B-930C-D497D0069E39}"/>
                </a:ext>
              </a:extLst>
            </p:cNvPr>
            <p:cNvSpPr/>
            <p:nvPr/>
          </p:nvSpPr>
          <p:spPr bwMode="ltGray">
            <a:xfrm>
              <a:off x="6745337" y="2958228"/>
              <a:ext cx="132277" cy="85195"/>
            </a:xfrm>
            <a:custGeom>
              <a:avLst/>
              <a:gdLst>
                <a:gd name="connsiteX0" fmla="*/ 118125 w 132277"/>
                <a:gd name="connsiteY0" fmla="*/ 78843 h 85195"/>
                <a:gd name="connsiteX1" fmla="*/ 57750 w 132277"/>
                <a:gd name="connsiteY1" fmla="*/ 18478 h 85195"/>
                <a:gd name="connsiteX2" fmla="*/ 7006 w 132277"/>
                <a:gd name="connsiteY2" fmla="*/ 18478 h 85195"/>
                <a:gd name="connsiteX3" fmla="*/ 7006 w 132277"/>
                <a:gd name="connsiteY3" fmla="*/ 7006 h 85195"/>
                <a:gd name="connsiteX4" fmla="*/ 62505 w 132277"/>
                <a:gd name="connsiteY4" fmla="*/ 7006 h 85195"/>
                <a:gd name="connsiteX5" fmla="*/ 126233 w 132277"/>
                <a:gd name="connsiteY5" fmla="*/ 70735 h 85195"/>
                <a:gd name="connsiteX6" fmla="*/ 118125 w 132277"/>
                <a:gd name="connsiteY6" fmla="*/ 78843 h 8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277" h="85195">
                  <a:moveTo>
                    <a:pt x="118125" y="78843"/>
                  </a:moveTo>
                  <a:lnTo>
                    <a:pt x="57750" y="18478"/>
                  </a:lnTo>
                  <a:lnTo>
                    <a:pt x="7006" y="18478"/>
                  </a:lnTo>
                  <a:lnTo>
                    <a:pt x="7006" y="7006"/>
                  </a:lnTo>
                  <a:lnTo>
                    <a:pt x="62505" y="7006"/>
                  </a:lnTo>
                  <a:lnTo>
                    <a:pt x="126233" y="70735"/>
                  </a:lnTo>
                  <a:lnTo>
                    <a:pt x="118125" y="78843"/>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1" name="Freeform: Shape 13510">
              <a:extLst>
                <a:ext uri="{FF2B5EF4-FFF2-40B4-BE49-F238E27FC236}">
                  <a16:creationId xmlns:a16="http://schemas.microsoft.com/office/drawing/2014/main" id="{66FEF91C-32B1-478C-92E5-A983BFD25647}"/>
                </a:ext>
              </a:extLst>
            </p:cNvPr>
            <p:cNvSpPr/>
            <p:nvPr/>
          </p:nvSpPr>
          <p:spPr bwMode="ltGray">
            <a:xfrm>
              <a:off x="7279267" y="3029691"/>
              <a:ext cx="154697" cy="24662"/>
            </a:xfrm>
            <a:custGeom>
              <a:avLst/>
              <a:gdLst>
                <a:gd name="connsiteX0" fmla="*/ 7006 w 154697"/>
                <a:gd name="connsiteY0" fmla="*/ 7006 h 24661"/>
                <a:gd name="connsiteX1" fmla="*/ 147887 w 154697"/>
                <a:gd name="connsiteY1" fmla="*/ 7006 h 24661"/>
                <a:gd name="connsiteX2" fmla="*/ 147887 w 154697"/>
                <a:gd name="connsiteY2" fmla="*/ 18478 h 24661"/>
                <a:gd name="connsiteX3" fmla="*/ 7006 w 154697"/>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4697" h="24661">
                  <a:moveTo>
                    <a:pt x="7006" y="7006"/>
                  </a:moveTo>
                  <a:lnTo>
                    <a:pt x="147887" y="7006"/>
                  </a:lnTo>
                  <a:lnTo>
                    <a:pt x="147887"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2" name="Freeform: Shape 13511">
              <a:extLst>
                <a:ext uri="{FF2B5EF4-FFF2-40B4-BE49-F238E27FC236}">
                  <a16:creationId xmlns:a16="http://schemas.microsoft.com/office/drawing/2014/main" id="{F6347E13-DA3A-47BB-9E94-8C7C63826489}"/>
                </a:ext>
              </a:extLst>
            </p:cNvPr>
            <p:cNvSpPr/>
            <p:nvPr/>
          </p:nvSpPr>
          <p:spPr bwMode="ltGray">
            <a:xfrm>
              <a:off x="7561038" y="3029691"/>
              <a:ext cx="154697" cy="24662"/>
            </a:xfrm>
            <a:custGeom>
              <a:avLst/>
              <a:gdLst>
                <a:gd name="connsiteX0" fmla="*/ 7006 w 154697"/>
                <a:gd name="connsiteY0" fmla="*/ 7006 h 24661"/>
                <a:gd name="connsiteX1" fmla="*/ 147887 w 154697"/>
                <a:gd name="connsiteY1" fmla="*/ 7006 h 24661"/>
                <a:gd name="connsiteX2" fmla="*/ 147887 w 154697"/>
                <a:gd name="connsiteY2" fmla="*/ 18478 h 24661"/>
                <a:gd name="connsiteX3" fmla="*/ 7006 w 154697"/>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4697" h="24661">
                  <a:moveTo>
                    <a:pt x="7006" y="7006"/>
                  </a:moveTo>
                  <a:lnTo>
                    <a:pt x="147887" y="7006"/>
                  </a:lnTo>
                  <a:lnTo>
                    <a:pt x="147887"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3" name="Freeform: Shape 13512">
              <a:extLst>
                <a:ext uri="{FF2B5EF4-FFF2-40B4-BE49-F238E27FC236}">
                  <a16:creationId xmlns:a16="http://schemas.microsoft.com/office/drawing/2014/main" id="{9172BFCB-5ACC-4733-A6EF-E7DBB9260675}"/>
                </a:ext>
              </a:extLst>
            </p:cNvPr>
            <p:cNvSpPr/>
            <p:nvPr/>
          </p:nvSpPr>
          <p:spPr bwMode="ltGray">
            <a:xfrm>
              <a:off x="6997505" y="3029691"/>
              <a:ext cx="154697" cy="24662"/>
            </a:xfrm>
            <a:custGeom>
              <a:avLst/>
              <a:gdLst>
                <a:gd name="connsiteX0" fmla="*/ 7006 w 154697"/>
                <a:gd name="connsiteY0" fmla="*/ 7006 h 24661"/>
                <a:gd name="connsiteX1" fmla="*/ 147887 w 154697"/>
                <a:gd name="connsiteY1" fmla="*/ 7006 h 24661"/>
                <a:gd name="connsiteX2" fmla="*/ 147887 w 154697"/>
                <a:gd name="connsiteY2" fmla="*/ 18478 h 24661"/>
                <a:gd name="connsiteX3" fmla="*/ 7006 w 154697"/>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4697" h="24661">
                  <a:moveTo>
                    <a:pt x="7006" y="7006"/>
                  </a:moveTo>
                  <a:lnTo>
                    <a:pt x="147887" y="7006"/>
                  </a:lnTo>
                  <a:lnTo>
                    <a:pt x="147887"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4" name="Freeform: Shape 13513">
              <a:extLst>
                <a:ext uri="{FF2B5EF4-FFF2-40B4-BE49-F238E27FC236}">
                  <a16:creationId xmlns:a16="http://schemas.microsoft.com/office/drawing/2014/main" id="{92B9C2D9-CB6A-463B-9F07-A5642DF5BAA6}"/>
                </a:ext>
              </a:extLst>
            </p:cNvPr>
            <p:cNvSpPr/>
            <p:nvPr/>
          </p:nvSpPr>
          <p:spPr bwMode="ltGray">
            <a:xfrm>
              <a:off x="7842809" y="3029691"/>
              <a:ext cx="80712" cy="24662"/>
            </a:xfrm>
            <a:custGeom>
              <a:avLst/>
              <a:gdLst>
                <a:gd name="connsiteX0" fmla="*/ 7006 w 80711"/>
                <a:gd name="connsiteY0" fmla="*/ 7006 h 24661"/>
                <a:gd name="connsiteX1" fmla="*/ 75854 w 80711"/>
                <a:gd name="connsiteY1" fmla="*/ 7006 h 24661"/>
                <a:gd name="connsiteX2" fmla="*/ 75854 w 80711"/>
                <a:gd name="connsiteY2" fmla="*/ 18478 h 24661"/>
                <a:gd name="connsiteX3" fmla="*/ 7006 w 80711"/>
                <a:gd name="connsiteY3" fmla="*/ 18478 h 24661"/>
              </a:gdLst>
              <a:ahLst/>
              <a:cxnLst>
                <a:cxn ang="0">
                  <a:pos x="connsiteX0" y="connsiteY0"/>
                </a:cxn>
                <a:cxn ang="0">
                  <a:pos x="connsiteX1" y="connsiteY1"/>
                </a:cxn>
                <a:cxn ang="0">
                  <a:pos x="connsiteX2" y="connsiteY2"/>
                </a:cxn>
                <a:cxn ang="0">
                  <a:pos x="connsiteX3" y="connsiteY3"/>
                </a:cxn>
              </a:cxnLst>
              <a:rect l="l" t="t" r="r" b="b"/>
              <a:pathLst>
                <a:path w="80711" h="24661">
                  <a:moveTo>
                    <a:pt x="7006" y="7006"/>
                  </a:moveTo>
                  <a:lnTo>
                    <a:pt x="75854" y="7006"/>
                  </a:lnTo>
                  <a:lnTo>
                    <a:pt x="75854"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5" name="Freeform: Shape 13514">
              <a:extLst>
                <a:ext uri="{FF2B5EF4-FFF2-40B4-BE49-F238E27FC236}">
                  <a16:creationId xmlns:a16="http://schemas.microsoft.com/office/drawing/2014/main" id="{02C16C29-2042-441A-BE9A-B3BC98FDC336}"/>
                </a:ext>
              </a:extLst>
            </p:cNvPr>
            <p:cNvSpPr/>
            <p:nvPr/>
          </p:nvSpPr>
          <p:spPr bwMode="ltGray">
            <a:xfrm>
              <a:off x="8566663" y="4351119"/>
              <a:ext cx="150213" cy="24662"/>
            </a:xfrm>
            <a:custGeom>
              <a:avLst/>
              <a:gdLst>
                <a:gd name="connsiteX0" fmla="*/ 7006 w 150213"/>
                <a:gd name="connsiteY0" fmla="*/ 7006 h 24661"/>
                <a:gd name="connsiteX1" fmla="*/ 144729 w 150213"/>
                <a:gd name="connsiteY1" fmla="*/ 7006 h 24661"/>
                <a:gd name="connsiteX2" fmla="*/ 144729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29" y="7006"/>
                  </a:lnTo>
                  <a:lnTo>
                    <a:pt x="144729"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6" name="Freeform: Shape 13515">
              <a:extLst>
                <a:ext uri="{FF2B5EF4-FFF2-40B4-BE49-F238E27FC236}">
                  <a16:creationId xmlns:a16="http://schemas.microsoft.com/office/drawing/2014/main" id="{55A5A081-00FC-4F4F-966E-7F91BE017D06}"/>
                </a:ext>
              </a:extLst>
            </p:cNvPr>
            <p:cNvSpPr/>
            <p:nvPr/>
          </p:nvSpPr>
          <p:spPr bwMode="ltGray">
            <a:xfrm>
              <a:off x="8842100" y="4351119"/>
              <a:ext cx="150213" cy="24662"/>
            </a:xfrm>
            <a:custGeom>
              <a:avLst/>
              <a:gdLst>
                <a:gd name="connsiteX0" fmla="*/ 7006 w 150213"/>
                <a:gd name="connsiteY0" fmla="*/ 7006 h 24661"/>
                <a:gd name="connsiteX1" fmla="*/ 144720 w 150213"/>
                <a:gd name="connsiteY1" fmla="*/ 7006 h 24661"/>
                <a:gd name="connsiteX2" fmla="*/ 144720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20" y="7006"/>
                  </a:lnTo>
                  <a:lnTo>
                    <a:pt x="144720"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7" name="Freeform: Shape 13516">
              <a:extLst>
                <a:ext uri="{FF2B5EF4-FFF2-40B4-BE49-F238E27FC236}">
                  <a16:creationId xmlns:a16="http://schemas.microsoft.com/office/drawing/2014/main" id="{AB76FC7F-BE1B-4320-A60D-AEE6CF922BCE}"/>
                </a:ext>
              </a:extLst>
            </p:cNvPr>
            <p:cNvSpPr/>
            <p:nvPr/>
          </p:nvSpPr>
          <p:spPr bwMode="ltGray">
            <a:xfrm>
              <a:off x="9117529" y="4351119"/>
              <a:ext cx="150213" cy="24662"/>
            </a:xfrm>
            <a:custGeom>
              <a:avLst/>
              <a:gdLst>
                <a:gd name="connsiteX0" fmla="*/ 7006 w 150213"/>
                <a:gd name="connsiteY0" fmla="*/ 7006 h 24661"/>
                <a:gd name="connsiteX1" fmla="*/ 144720 w 150213"/>
                <a:gd name="connsiteY1" fmla="*/ 7006 h 24661"/>
                <a:gd name="connsiteX2" fmla="*/ 144720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20" y="7006"/>
                  </a:lnTo>
                  <a:lnTo>
                    <a:pt x="144720"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8" name="Freeform: Shape 13517">
              <a:extLst>
                <a:ext uri="{FF2B5EF4-FFF2-40B4-BE49-F238E27FC236}">
                  <a16:creationId xmlns:a16="http://schemas.microsoft.com/office/drawing/2014/main" id="{18218F66-C7C6-465B-9A29-940388FFB204}"/>
                </a:ext>
              </a:extLst>
            </p:cNvPr>
            <p:cNvSpPr/>
            <p:nvPr/>
          </p:nvSpPr>
          <p:spPr bwMode="ltGray">
            <a:xfrm>
              <a:off x="8291235" y="4351119"/>
              <a:ext cx="150213" cy="24662"/>
            </a:xfrm>
            <a:custGeom>
              <a:avLst/>
              <a:gdLst>
                <a:gd name="connsiteX0" fmla="*/ 7006 w 150213"/>
                <a:gd name="connsiteY0" fmla="*/ 7006 h 24661"/>
                <a:gd name="connsiteX1" fmla="*/ 144720 w 150213"/>
                <a:gd name="connsiteY1" fmla="*/ 7006 h 24661"/>
                <a:gd name="connsiteX2" fmla="*/ 144720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20" y="7006"/>
                  </a:lnTo>
                  <a:lnTo>
                    <a:pt x="144720"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19" name="Freeform: Shape 13518">
              <a:extLst>
                <a:ext uri="{FF2B5EF4-FFF2-40B4-BE49-F238E27FC236}">
                  <a16:creationId xmlns:a16="http://schemas.microsoft.com/office/drawing/2014/main" id="{548590A6-F190-431B-A6DA-7880EB58E2BC}"/>
                </a:ext>
              </a:extLst>
            </p:cNvPr>
            <p:cNvSpPr/>
            <p:nvPr/>
          </p:nvSpPr>
          <p:spPr bwMode="ltGray">
            <a:xfrm>
              <a:off x="7740369" y="4351119"/>
              <a:ext cx="150213" cy="24662"/>
            </a:xfrm>
            <a:custGeom>
              <a:avLst/>
              <a:gdLst>
                <a:gd name="connsiteX0" fmla="*/ 7006 w 150213"/>
                <a:gd name="connsiteY0" fmla="*/ 7006 h 24661"/>
                <a:gd name="connsiteX1" fmla="*/ 144720 w 150213"/>
                <a:gd name="connsiteY1" fmla="*/ 7006 h 24661"/>
                <a:gd name="connsiteX2" fmla="*/ 144720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20" y="7006"/>
                  </a:lnTo>
                  <a:lnTo>
                    <a:pt x="144720"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0" name="Freeform: Shape 13519">
              <a:extLst>
                <a:ext uri="{FF2B5EF4-FFF2-40B4-BE49-F238E27FC236}">
                  <a16:creationId xmlns:a16="http://schemas.microsoft.com/office/drawing/2014/main" id="{441DB3DB-5F98-47AF-85F2-735FAD43BCC4}"/>
                </a:ext>
              </a:extLst>
            </p:cNvPr>
            <p:cNvSpPr/>
            <p:nvPr/>
          </p:nvSpPr>
          <p:spPr bwMode="ltGray">
            <a:xfrm>
              <a:off x="9392938" y="4351119"/>
              <a:ext cx="150213" cy="24662"/>
            </a:xfrm>
            <a:custGeom>
              <a:avLst/>
              <a:gdLst>
                <a:gd name="connsiteX0" fmla="*/ 7006 w 150213"/>
                <a:gd name="connsiteY0" fmla="*/ 7006 h 24661"/>
                <a:gd name="connsiteX1" fmla="*/ 144701 w 150213"/>
                <a:gd name="connsiteY1" fmla="*/ 7006 h 24661"/>
                <a:gd name="connsiteX2" fmla="*/ 144701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01" y="7006"/>
                  </a:lnTo>
                  <a:lnTo>
                    <a:pt x="144701"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1" name="Freeform: Shape 13520">
              <a:extLst>
                <a:ext uri="{FF2B5EF4-FFF2-40B4-BE49-F238E27FC236}">
                  <a16:creationId xmlns:a16="http://schemas.microsoft.com/office/drawing/2014/main" id="{DB158C9F-398E-42F1-B778-E903DF229CEE}"/>
                </a:ext>
              </a:extLst>
            </p:cNvPr>
            <p:cNvSpPr/>
            <p:nvPr/>
          </p:nvSpPr>
          <p:spPr bwMode="ltGray">
            <a:xfrm>
              <a:off x="8015797" y="4351119"/>
              <a:ext cx="150213" cy="24662"/>
            </a:xfrm>
            <a:custGeom>
              <a:avLst/>
              <a:gdLst>
                <a:gd name="connsiteX0" fmla="*/ 7006 w 150213"/>
                <a:gd name="connsiteY0" fmla="*/ 7006 h 24661"/>
                <a:gd name="connsiteX1" fmla="*/ 144730 w 150213"/>
                <a:gd name="connsiteY1" fmla="*/ 7006 h 24661"/>
                <a:gd name="connsiteX2" fmla="*/ 144730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30" y="7006"/>
                  </a:lnTo>
                  <a:lnTo>
                    <a:pt x="144730"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2" name="Freeform: Shape 13521">
              <a:extLst>
                <a:ext uri="{FF2B5EF4-FFF2-40B4-BE49-F238E27FC236}">
                  <a16:creationId xmlns:a16="http://schemas.microsoft.com/office/drawing/2014/main" id="{DABBF2C7-4500-42A2-B7D5-38D2573B845B}"/>
                </a:ext>
              </a:extLst>
            </p:cNvPr>
            <p:cNvSpPr/>
            <p:nvPr/>
          </p:nvSpPr>
          <p:spPr bwMode="ltGray">
            <a:xfrm>
              <a:off x="11045564" y="4351119"/>
              <a:ext cx="150213" cy="24662"/>
            </a:xfrm>
            <a:custGeom>
              <a:avLst/>
              <a:gdLst>
                <a:gd name="connsiteX0" fmla="*/ 7006 w 150213"/>
                <a:gd name="connsiteY0" fmla="*/ 7006 h 24661"/>
                <a:gd name="connsiteX1" fmla="*/ 144701 w 150213"/>
                <a:gd name="connsiteY1" fmla="*/ 7006 h 24661"/>
                <a:gd name="connsiteX2" fmla="*/ 144701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01" y="7006"/>
                  </a:lnTo>
                  <a:lnTo>
                    <a:pt x="144701"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3" name="Freeform: Shape 13522">
              <a:extLst>
                <a:ext uri="{FF2B5EF4-FFF2-40B4-BE49-F238E27FC236}">
                  <a16:creationId xmlns:a16="http://schemas.microsoft.com/office/drawing/2014/main" id="{CE71B7F2-4D27-4119-95F2-17D60B04CAA1}"/>
                </a:ext>
              </a:extLst>
            </p:cNvPr>
            <p:cNvSpPr/>
            <p:nvPr/>
          </p:nvSpPr>
          <p:spPr bwMode="ltGray">
            <a:xfrm>
              <a:off x="10770079" y="4351119"/>
              <a:ext cx="150213" cy="24662"/>
            </a:xfrm>
            <a:custGeom>
              <a:avLst/>
              <a:gdLst>
                <a:gd name="connsiteX0" fmla="*/ 7006 w 150213"/>
                <a:gd name="connsiteY0" fmla="*/ 7006 h 24661"/>
                <a:gd name="connsiteX1" fmla="*/ 144795 w 150213"/>
                <a:gd name="connsiteY1" fmla="*/ 7006 h 24661"/>
                <a:gd name="connsiteX2" fmla="*/ 144795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95" y="7006"/>
                  </a:lnTo>
                  <a:lnTo>
                    <a:pt x="144795"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4" name="Freeform: Shape 13523">
              <a:extLst>
                <a:ext uri="{FF2B5EF4-FFF2-40B4-BE49-F238E27FC236}">
                  <a16:creationId xmlns:a16="http://schemas.microsoft.com/office/drawing/2014/main" id="{C033B59E-6130-4B9E-AB90-E23EAD63BDF9}"/>
                </a:ext>
              </a:extLst>
            </p:cNvPr>
            <p:cNvSpPr/>
            <p:nvPr/>
          </p:nvSpPr>
          <p:spPr bwMode="ltGray">
            <a:xfrm>
              <a:off x="10494689" y="4351119"/>
              <a:ext cx="150213" cy="24662"/>
            </a:xfrm>
            <a:custGeom>
              <a:avLst/>
              <a:gdLst>
                <a:gd name="connsiteX0" fmla="*/ 7006 w 150213"/>
                <a:gd name="connsiteY0" fmla="*/ 7006 h 24661"/>
                <a:gd name="connsiteX1" fmla="*/ 144701 w 150213"/>
                <a:gd name="connsiteY1" fmla="*/ 7006 h 24661"/>
                <a:gd name="connsiteX2" fmla="*/ 144701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01" y="7006"/>
                  </a:lnTo>
                  <a:lnTo>
                    <a:pt x="144701"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5" name="Freeform: Shape 13524">
              <a:extLst>
                <a:ext uri="{FF2B5EF4-FFF2-40B4-BE49-F238E27FC236}">
                  <a16:creationId xmlns:a16="http://schemas.microsoft.com/office/drawing/2014/main" id="{3B001A8F-3226-4CB7-A6C4-77A6E19C8B37}"/>
                </a:ext>
              </a:extLst>
            </p:cNvPr>
            <p:cNvSpPr/>
            <p:nvPr/>
          </p:nvSpPr>
          <p:spPr bwMode="ltGray">
            <a:xfrm>
              <a:off x="9668422" y="4351119"/>
              <a:ext cx="150213" cy="24662"/>
            </a:xfrm>
            <a:custGeom>
              <a:avLst/>
              <a:gdLst>
                <a:gd name="connsiteX0" fmla="*/ 7007 w 150213"/>
                <a:gd name="connsiteY0" fmla="*/ 7006 h 24661"/>
                <a:gd name="connsiteX1" fmla="*/ 144702 w 150213"/>
                <a:gd name="connsiteY1" fmla="*/ 7006 h 24661"/>
                <a:gd name="connsiteX2" fmla="*/ 144702 w 150213"/>
                <a:gd name="connsiteY2" fmla="*/ 18478 h 24661"/>
                <a:gd name="connsiteX3" fmla="*/ 7007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7" y="7006"/>
                  </a:moveTo>
                  <a:lnTo>
                    <a:pt x="144702" y="7006"/>
                  </a:lnTo>
                  <a:lnTo>
                    <a:pt x="144702" y="18478"/>
                  </a:lnTo>
                  <a:lnTo>
                    <a:pt x="7007"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6" name="Freeform: Shape 13525">
              <a:extLst>
                <a:ext uri="{FF2B5EF4-FFF2-40B4-BE49-F238E27FC236}">
                  <a16:creationId xmlns:a16="http://schemas.microsoft.com/office/drawing/2014/main" id="{FF8A519A-2245-4D19-90E4-02FD0A452630}"/>
                </a:ext>
              </a:extLst>
            </p:cNvPr>
            <p:cNvSpPr/>
            <p:nvPr/>
          </p:nvSpPr>
          <p:spPr bwMode="ltGray">
            <a:xfrm>
              <a:off x="11320955" y="4351119"/>
              <a:ext cx="80712" cy="24662"/>
            </a:xfrm>
            <a:custGeom>
              <a:avLst/>
              <a:gdLst>
                <a:gd name="connsiteX0" fmla="*/ 7006 w 80711"/>
                <a:gd name="connsiteY0" fmla="*/ 7006 h 24661"/>
                <a:gd name="connsiteX1" fmla="*/ 75013 w 80711"/>
                <a:gd name="connsiteY1" fmla="*/ 7006 h 24661"/>
                <a:gd name="connsiteX2" fmla="*/ 75013 w 80711"/>
                <a:gd name="connsiteY2" fmla="*/ 18478 h 24661"/>
                <a:gd name="connsiteX3" fmla="*/ 7006 w 80711"/>
                <a:gd name="connsiteY3" fmla="*/ 18478 h 24661"/>
              </a:gdLst>
              <a:ahLst/>
              <a:cxnLst>
                <a:cxn ang="0">
                  <a:pos x="connsiteX0" y="connsiteY0"/>
                </a:cxn>
                <a:cxn ang="0">
                  <a:pos x="connsiteX1" y="connsiteY1"/>
                </a:cxn>
                <a:cxn ang="0">
                  <a:pos x="connsiteX2" y="connsiteY2"/>
                </a:cxn>
                <a:cxn ang="0">
                  <a:pos x="connsiteX3" y="connsiteY3"/>
                </a:cxn>
              </a:cxnLst>
              <a:rect l="l" t="t" r="r" b="b"/>
              <a:pathLst>
                <a:path w="80711" h="24661">
                  <a:moveTo>
                    <a:pt x="7006" y="7006"/>
                  </a:moveTo>
                  <a:lnTo>
                    <a:pt x="75013" y="7006"/>
                  </a:lnTo>
                  <a:lnTo>
                    <a:pt x="75013"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7" name="Freeform: Shape 13526">
              <a:extLst>
                <a:ext uri="{FF2B5EF4-FFF2-40B4-BE49-F238E27FC236}">
                  <a16:creationId xmlns:a16="http://schemas.microsoft.com/office/drawing/2014/main" id="{A32C4949-39AC-469E-96A3-67B551E2E569}"/>
                </a:ext>
              </a:extLst>
            </p:cNvPr>
            <p:cNvSpPr/>
            <p:nvPr/>
          </p:nvSpPr>
          <p:spPr bwMode="ltGray">
            <a:xfrm>
              <a:off x="10219204" y="4351119"/>
              <a:ext cx="150213" cy="24662"/>
            </a:xfrm>
            <a:custGeom>
              <a:avLst/>
              <a:gdLst>
                <a:gd name="connsiteX0" fmla="*/ 7006 w 150213"/>
                <a:gd name="connsiteY0" fmla="*/ 7006 h 24661"/>
                <a:gd name="connsiteX1" fmla="*/ 144795 w 150213"/>
                <a:gd name="connsiteY1" fmla="*/ 7006 h 24661"/>
                <a:gd name="connsiteX2" fmla="*/ 144795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95" y="7006"/>
                  </a:lnTo>
                  <a:lnTo>
                    <a:pt x="144795"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8" name="Freeform: Shape 13527">
              <a:extLst>
                <a:ext uri="{FF2B5EF4-FFF2-40B4-BE49-F238E27FC236}">
                  <a16:creationId xmlns:a16="http://schemas.microsoft.com/office/drawing/2014/main" id="{0B3DE764-A536-4B3E-95DF-4360CA60CA71}"/>
                </a:ext>
              </a:extLst>
            </p:cNvPr>
            <p:cNvSpPr/>
            <p:nvPr/>
          </p:nvSpPr>
          <p:spPr bwMode="ltGray">
            <a:xfrm>
              <a:off x="9943813" y="4351119"/>
              <a:ext cx="150213" cy="24662"/>
            </a:xfrm>
            <a:custGeom>
              <a:avLst/>
              <a:gdLst>
                <a:gd name="connsiteX0" fmla="*/ 7006 w 150213"/>
                <a:gd name="connsiteY0" fmla="*/ 7006 h 24661"/>
                <a:gd name="connsiteX1" fmla="*/ 144702 w 150213"/>
                <a:gd name="connsiteY1" fmla="*/ 7006 h 24661"/>
                <a:gd name="connsiteX2" fmla="*/ 144702 w 150213"/>
                <a:gd name="connsiteY2" fmla="*/ 18478 h 24661"/>
                <a:gd name="connsiteX3" fmla="*/ 7006 w 15021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150213" h="24661">
                  <a:moveTo>
                    <a:pt x="7006" y="7006"/>
                  </a:moveTo>
                  <a:lnTo>
                    <a:pt x="144702" y="7006"/>
                  </a:lnTo>
                  <a:lnTo>
                    <a:pt x="144702"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29" name="Freeform: Shape 13528">
              <a:extLst>
                <a:ext uri="{FF2B5EF4-FFF2-40B4-BE49-F238E27FC236}">
                  <a16:creationId xmlns:a16="http://schemas.microsoft.com/office/drawing/2014/main" id="{93FF005D-5989-4C2F-AE67-024B3F508A33}"/>
                </a:ext>
              </a:extLst>
            </p:cNvPr>
            <p:cNvSpPr/>
            <p:nvPr/>
          </p:nvSpPr>
          <p:spPr bwMode="ltGray">
            <a:xfrm>
              <a:off x="6871141" y="5468563"/>
              <a:ext cx="793663" cy="24662"/>
            </a:xfrm>
            <a:custGeom>
              <a:avLst/>
              <a:gdLst>
                <a:gd name="connsiteX0" fmla="*/ 7006 w 793663"/>
                <a:gd name="connsiteY0" fmla="*/ 7006 h 24661"/>
                <a:gd name="connsiteX1" fmla="*/ 787395 w 793663"/>
                <a:gd name="connsiteY1" fmla="*/ 7006 h 24661"/>
                <a:gd name="connsiteX2" fmla="*/ 787395 w 793663"/>
                <a:gd name="connsiteY2" fmla="*/ 18478 h 24661"/>
                <a:gd name="connsiteX3" fmla="*/ 7006 w 793663"/>
                <a:gd name="connsiteY3" fmla="*/ 18478 h 24661"/>
              </a:gdLst>
              <a:ahLst/>
              <a:cxnLst>
                <a:cxn ang="0">
                  <a:pos x="connsiteX0" y="connsiteY0"/>
                </a:cxn>
                <a:cxn ang="0">
                  <a:pos x="connsiteX1" y="connsiteY1"/>
                </a:cxn>
                <a:cxn ang="0">
                  <a:pos x="connsiteX2" y="connsiteY2"/>
                </a:cxn>
                <a:cxn ang="0">
                  <a:pos x="connsiteX3" y="connsiteY3"/>
                </a:cxn>
              </a:cxnLst>
              <a:rect l="l" t="t" r="r" b="b"/>
              <a:pathLst>
                <a:path w="793663" h="24661">
                  <a:moveTo>
                    <a:pt x="7006" y="7006"/>
                  </a:moveTo>
                  <a:lnTo>
                    <a:pt x="787395" y="7006"/>
                  </a:lnTo>
                  <a:lnTo>
                    <a:pt x="787395" y="18478"/>
                  </a:lnTo>
                  <a:lnTo>
                    <a:pt x="7006" y="1847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0" name="Freeform: Shape 13529">
              <a:extLst>
                <a:ext uri="{FF2B5EF4-FFF2-40B4-BE49-F238E27FC236}">
                  <a16:creationId xmlns:a16="http://schemas.microsoft.com/office/drawing/2014/main" id="{CF93AF04-BD7B-42E7-922F-ECA309D7A98E}"/>
                </a:ext>
              </a:extLst>
            </p:cNvPr>
            <p:cNvSpPr/>
            <p:nvPr/>
          </p:nvSpPr>
          <p:spPr bwMode="ltGray">
            <a:xfrm>
              <a:off x="7949920" y="5451347"/>
              <a:ext cx="262312" cy="58292"/>
            </a:xfrm>
            <a:custGeom>
              <a:avLst/>
              <a:gdLst>
                <a:gd name="connsiteX0" fmla="*/ 7006 w 262312"/>
                <a:gd name="connsiteY0" fmla="*/ 7006 h 58291"/>
                <a:gd name="connsiteX1" fmla="*/ 255652 w 262312"/>
                <a:gd name="connsiteY1" fmla="*/ 7006 h 58291"/>
                <a:gd name="connsiteX2" fmla="*/ 255652 w 262312"/>
                <a:gd name="connsiteY2" fmla="*/ 52911 h 58291"/>
                <a:gd name="connsiteX3" fmla="*/ 7006 w 262312"/>
                <a:gd name="connsiteY3" fmla="*/ 52911 h 58291"/>
              </a:gdLst>
              <a:ahLst/>
              <a:cxnLst>
                <a:cxn ang="0">
                  <a:pos x="connsiteX0" y="connsiteY0"/>
                </a:cxn>
                <a:cxn ang="0">
                  <a:pos x="connsiteX1" y="connsiteY1"/>
                </a:cxn>
                <a:cxn ang="0">
                  <a:pos x="connsiteX2" y="connsiteY2"/>
                </a:cxn>
                <a:cxn ang="0">
                  <a:pos x="connsiteX3" y="connsiteY3"/>
                </a:cxn>
              </a:cxnLst>
              <a:rect l="l" t="t" r="r" b="b"/>
              <a:pathLst>
                <a:path w="262312" h="58291">
                  <a:moveTo>
                    <a:pt x="7006" y="7006"/>
                  </a:moveTo>
                  <a:lnTo>
                    <a:pt x="255652" y="7006"/>
                  </a:lnTo>
                  <a:lnTo>
                    <a:pt x="255652" y="52911"/>
                  </a:lnTo>
                  <a:lnTo>
                    <a:pt x="7006" y="52911"/>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1" name="Freeform: Shape 13530">
              <a:extLst>
                <a:ext uri="{FF2B5EF4-FFF2-40B4-BE49-F238E27FC236}">
                  <a16:creationId xmlns:a16="http://schemas.microsoft.com/office/drawing/2014/main" id="{500063FD-13BB-44FC-9960-CDB6393536B1}"/>
                </a:ext>
              </a:extLst>
            </p:cNvPr>
            <p:cNvSpPr/>
            <p:nvPr/>
          </p:nvSpPr>
          <p:spPr bwMode="ltGray">
            <a:xfrm>
              <a:off x="437093" y="2313684"/>
              <a:ext cx="3282268" cy="506689"/>
            </a:xfrm>
            <a:custGeom>
              <a:avLst/>
              <a:gdLst>
                <a:gd name="connsiteX0" fmla="*/ 2747099 w 3282267"/>
                <a:gd name="connsiteY0" fmla="*/ 500430 h 506688"/>
                <a:gd name="connsiteX1" fmla="*/ 2476575 w 3282267"/>
                <a:gd name="connsiteY1" fmla="*/ 500430 h 506688"/>
                <a:gd name="connsiteX2" fmla="*/ 2444113 w 3282267"/>
                <a:gd name="connsiteY2" fmla="*/ 500430 h 506688"/>
                <a:gd name="connsiteX3" fmla="*/ 2186023 w 3282267"/>
                <a:gd name="connsiteY3" fmla="*/ 500430 h 506688"/>
                <a:gd name="connsiteX4" fmla="*/ 2179390 w 3282267"/>
                <a:gd name="connsiteY4" fmla="*/ 488949 h 506688"/>
                <a:gd name="connsiteX5" fmla="*/ 2758580 w 3282267"/>
                <a:gd name="connsiteY5" fmla="*/ 488949 h 506688"/>
                <a:gd name="connsiteX6" fmla="*/ 2747099 w 3282267"/>
                <a:gd name="connsiteY6" fmla="*/ 500430 h 506688"/>
                <a:gd name="connsiteX7" fmla="*/ 2166751 w 3282267"/>
                <a:gd name="connsiteY7" fmla="*/ 500430 h 506688"/>
                <a:gd name="connsiteX8" fmla="*/ 1512856 w 3282267"/>
                <a:gd name="connsiteY8" fmla="*/ 500430 h 506688"/>
                <a:gd name="connsiteX9" fmla="*/ 1519489 w 3282267"/>
                <a:gd name="connsiteY9" fmla="*/ 488949 h 506688"/>
                <a:gd name="connsiteX10" fmla="*/ 2160128 w 3282267"/>
                <a:gd name="connsiteY10" fmla="*/ 488949 h 506688"/>
                <a:gd name="connsiteX11" fmla="*/ 2166751 w 3282267"/>
                <a:gd name="connsiteY11" fmla="*/ 500430 h 506688"/>
                <a:gd name="connsiteX12" fmla="*/ 1493594 w 3282267"/>
                <a:gd name="connsiteY12" fmla="*/ 500430 h 506688"/>
                <a:gd name="connsiteX13" fmla="*/ 848368 w 3282267"/>
                <a:gd name="connsiteY13" fmla="*/ 500430 h 506688"/>
                <a:gd name="connsiteX14" fmla="*/ 852572 w 3282267"/>
                <a:gd name="connsiteY14" fmla="*/ 488949 h 506688"/>
                <a:gd name="connsiteX15" fmla="*/ 1500217 w 3282267"/>
                <a:gd name="connsiteY15" fmla="*/ 488949 h 506688"/>
                <a:gd name="connsiteX16" fmla="*/ 1493594 w 3282267"/>
                <a:gd name="connsiteY16" fmla="*/ 500430 h 506688"/>
                <a:gd name="connsiteX17" fmla="*/ 817279 w 3282267"/>
                <a:gd name="connsiteY17" fmla="*/ 500430 h 506688"/>
                <a:gd name="connsiteX18" fmla="*/ 604459 w 3282267"/>
                <a:gd name="connsiteY18" fmla="*/ 500430 h 506688"/>
                <a:gd name="connsiteX19" fmla="*/ 599069 w 3282267"/>
                <a:gd name="connsiteY19" fmla="*/ 488949 h 506688"/>
                <a:gd name="connsiteX20" fmla="*/ 822660 w 3282267"/>
                <a:gd name="connsiteY20" fmla="*/ 488949 h 506688"/>
                <a:gd name="connsiteX21" fmla="*/ 817279 w 3282267"/>
                <a:gd name="connsiteY21" fmla="*/ 500430 h 506688"/>
                <a:gd name="connsiteX22" fmla="*/ 573360 w 3282267"/>
                <a:gd name="connsiteY22" fmla="*/ 500430 h 506688"/>
                <a:gd name="connsiteX23" fmla="*/ 146140 w 3282267"/>
                <a:gd name="connsiteY23" fmla="*/ 500430 h 506688"/>
                <a:gd name="connsiteX24" fmla="*/ 157621 w 3282267"/>
                <a:gd name="connsiteY24" fmla="*/ 488949 h 506688"/>
                <a:gd name="connsiteX25" fmla="*/ 569157 w 3282267"/>
                <a:gd name="connsiteY25" fmla="*/ 488949 h 506688"/>
                <a:gd name="connsiteX26" fmla="*/ 573360 w 3282267"/>
                <a:gd name="connsiteY26" fmla="*/ 500430 h 506688"/>
                <a:gd name="connsiteX27" fmla="*/ 66550 w 3282267"/>
                <a:gd name="connsiteY27" fmla="*/ 500430 h 506688"/>
                <a:gd name="connsiteX28" fmla="*/ 7006 w 3282267"/>
                <a:gd name="connsiteY28" fmla="*/ 500430 h 506688"/>
                <a:gd name="connsiteX29" fmla="*/ 18487 w 3282267"/>
                <a:gd name="connsiteY29" fmla="*/ 488949 h 506688"/>
                <a:gd name="connsiteX30" fmla="*/ 78031 w 3282267"/>
                <a:gd name="connsiteY30" fmla="*/ 488949 h 506688"/>
                <a:gd name="connsiteX31" fmla="*/ 66550 w 3282267"/>
                <a:gd name="connsiteY31" fmla="*/ 500430 h 506688"/>
                <a:gd name="connsiteX32" fmla="*/ 2959910 w 3282267"/>
                <a:gd name="connsiteY32" fmla="*/ 323014 h 506688"/>
                <a:gd name="connsiteX33" fmla="*/ 2943684 w 3282267"/>
                <a:gd name="connsiteY33" fmla="*/ 323014 h 506688"/>
                <a:gd name="connsiteX34" fmla="*/ 3004862 w 3282267"/>
                <a:gd name="connsiteY34" fmla="*/ 261836 h 506688"/>
                <a:gd name="connsiteX35" fmla="*/ 3021088 w 3282267"/>
                <a:gd name="connsiteY35" fmla="*/ 261836 h 506688"/>
                <a:gd name="connsiteX36" fmla="*/ 2959910 w 3282267"/>
                <a:gd name="connsiteY36" fmla="*/ 323014 h 506688"/>
                <a:gd name="connsiteX37" fmla="*/ 3037978 w 3282267"/>
                <a:gd name="connsiteY37" fmla="*/ 244946 h 506688"/>
                <a:gd name="connsiteX38" fmla="*/ 3021752 w 3282267"/>
                <a:gd name="connsiteY38" fmla="*/ 244946 h 506688"/>
                <a:gd name="connsiteX39" fmla="*/ 3100212 w 3282267"/>
                <a:gd name="connsiteY39" fmla="*/ 166486 h 506688"/>
                <a:gd name="connsiteX40" fmla="*/ 3123164 w 3282267"/>
                <a:gd name="connsiteY40" fmla="*/ 143534 h 506688"/>
                <a:gd name="connsiteX41" fmla="*/ 3200447 w 3282267"/>
                <a:gd name="connsiteY41" fmla="*/ 66251 h 506688"/>
                <a:gd name="connsiteX42" fmla="*/ 3234871 w 3282267"/>
                <a:gd name="connsiteY42" fmla="*/ 31827 h 506688"/>
                <a:gd name="connsiteX43" fmla="*/ 3259692 w 3282267"/>
                <a:gd name="connsiteY43" fmla="*/ 7006 h 506688"/>
                <a:gd name="connsiteX44" fmla="*/ 3275918 w 3282267"/>
                <a:gd name="connsiteY44" fmla="*/ 7006 h 506688"/>
                <a:gd name="connsiteX45" fmla="*/ 3251098 w 3282267"/>
                <a:gd name="connsiteY45" fmla="*/ 31827 h 506688"/>
                <a:gd name="connsiteX46" fmla="*/ 3216665 w 3282267"/>
                <a:gd name="connsiteY46" fmla="*/ 66251 h 506688"/>
                <a:gd name="connsiteX47" fmla="*/ 3139391 w 3282267"/>
                <a:gd name="connsiteY47" fmla="*/ 143534 h 506688"/>
                <a:gd name="connsiteX48" fmla="*/ 3116438 w 3282267"/>
                <a:gd name="connsiteY48" fmla="*/ 166486 h 506688"/>
                <a:gd name="connsiteX49" fmla="*/ 3037978 w 3282267"/>
                <a:gd name="connsiteY49" fmla="*/ 244946 h 50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282267" h="506688">
                  <a:moveTo>
                    <a:pt x="2747099" y="500430"/>
                  </a:moveTo>
                  <a:lnTo>
                    <a:pt x="2476575" y="500430"/>
                  </a:lnTo>
                  <a:lnTo>
                    <a:pt x="2444113" y="500430"/>
                  </a:lnTo>
                  <a:lnTo>
                    <a:pt x="2186023" y="500430"/>
                  </a:lnTo>
                  <a:lnTo>
                    <a:pt x="2179390" y="488949"/>
                  </a:lnTo>
                  <a:lnTo>
                    <a:pt x="2758580" y="488949"/>
                  </a:lnTo>
                  <a:lnTo>
                    <a:pt x="2747099" y="500430"/>
                  </a:lnTo>
                  <a:close/>
                  <a:moveTo>
                    <a:pt x="2166751" y="500430"/>
                  </a:moveTo>
                  <a:lnTo>
                    <a:pt x="1512856" y="500430"/>
                  </a:lnTo>
                  <a:lnTo>
                    <a:pt x="1519489" y="488949"/>
                  </a:lnTo>
                  <a:lnTo>
                    <a:pt x="2160128" y="488949"/>
                  </a:lnTo>
                  <a:lnTo>
                    <a:pt x="2166751" y="500430"/>
                  </a:lnTo>
                  <a:close/>
                  <a:moveTo>
                    <a:pt x="1493594" y="500430"/>
                  </a:moveTo>
                  <a:lnTo>
                    <a:pt x="848368" y="500430"/>
                  </a:lnTo>
                  <a:cubicBezTo>
                    <a:pt x="849919" y="496675"/>
                    <a:pt x="851330" y="492845"/>
                    <a:pt x="852572" y="488949"/>
                  </a:cubicBezTo>
                  <a:lnTo>
                    <a:pt x="1500217" y="488949"/>
                  </a:lnTo>
                  <a:lnTo>
                    <a:pt x="1493594" y="500430"/>
                  </a:lnTo>
                  <a:close/>
                  <a:moveTo>
                    <a:pt x="817279" y="500430"/>
                  </a:moveTo>
                  <a:lnTo>
                    <a:pt x="604459" y="500430"/>
                  </a:lnTo>
                  <a:cubicBezTo>
                    <a:pt x="602469" y="496712"/>
                    <a:pt x="600666" y="492883"/>
                    <a:pt x="599069" y="488949"/>
                  </a:cubicBezTo>
                  <a:lnTo>
                    <a:pt x="822660" y="488949"/>
                  </a:lnTo>
                  <a:cubicBezTo>
                    <a:pt x="821063" y="492883"/>
                    <a:pt x="819260" y="496712"/>
                    <a:pt x="817279" y="500430"/>
                  </a:cubicBezTo>
                  <a:close/>
                  <a:moveTo>
                    <a:pt x="573360" y="500430"/>
                  </a:moveTo>
                  <a:lnTo>
                    <a:pt x="146140" y="500430"/>
                  </a:lnTo>
                  <a:lnTo>
                    <a:pt x="157621" y="488949"/>
                  </a:lnTo>
                  <a:lnTo>
                    <a:pt x="569157" y="488949"/>
                  </a:lnTo>
                  <a:cubicBezTo>
                    <a:pt x="570408" y="492845"/>
                    <a:pt x="571810" y="496675"/>
                    <a:pt x="573360" y="500430"/>
                  </a:cubicBezTo>
                  <a:close/>
                  <a:moveTo>
                    <a:pt x="66550" y="500430"/>
                  </a:moveTo>
                  <a:lnTo>
                    <a:pt x="7006" y="500430"/>
                  </a:lnTo>
                  <a:lnTo>
                    <a:pt x="18487" y="488949"/>
                  </a:lnTo>
                  <a:lnTo>
                    <a:pt x="78031" y="488949"/>
                  </a:lnTo>
                  <a:lnTo>
                    <a:pt x="66550" y="500430"/>
                  </a:lnTo>
                  <a:close/>
                  <a:moveTo>
                    <a:pt x="2959910" y="323014"/>
                  </a:moveTo>
                  <a:lnTo>
                    <a:pt x="2943684" y="323014"/>
                  </a:lnTo>
                  <a:lnTo>
                    <a:pt x="3004862" y="261836"/>
                  </a:lnTo>
                  <a:lnTo>
                    <a:pt x="3021088" y="261836"/>
                  </a:lnTo>
                  <a:lnTo>
                    <a:pt x="2959910" y="323014"/>
                  </a:lnTo>
                  <a:close/>
                  <a:moveTo>
                    <a:pt x="3037978" y="244946"/>
                  </a:moveTo>
                  <a:lnTo>
                    <a:pt x="3021752" y="244946"/>
                  </a:lnTo>
                  <a:lnTo>
                    <a:pt x="3100212" y="166486"/>
                  </a:lnTo>
                  <a:lnTo>
                    <a:pt x="3123164" y="143534"/>
                  </a:lnTo>
                  <a:lnTo>
                    <a:pt x="3200447" y="66251"/>
                  </a:lnTo>
                  <a:lnTo>
                    <a:pt x="3234871" y="31827"/>
                  </a:lnTo>
                  <a:lnTo>
                    <a:pt x="3259692" y="7006"/>
                  </a:lnTo>
                  <a:lnTo>
                    <a:pt x="3275918" y="7006"/>
                  </a:lnTo>
                  <a:lnTo>
                    <a:pt x="3251098" y="31827"/>
                  </a:lnTo>
                  <a:lnTo>
                    <a:pt x="3216665" y="66251"/>
                  </a:lnTo>
                  <a:lnTo>
                    <a:pt x="3139391" y="143534"/>
                  </a:lnTo>
                  <a:lnTo>
                    <a:pt x="3116438" y="166486"/>
                  </a:lnTo>
                  <a:lnTo>
                    <a:pt x="3037978" y="244946"/>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2" name="Freeform: Shape 13531">
              <a:extLst>
                <a:ext uri="{FF2B5EF4-FFF2-40B4-BE49-F238E27FC236}">
                  <a16:creationId xmlns:a16="http://schemas.microsoft.com/office/drawing/2014/main" id="{A6BF484A-0620-4BFF-BAB7-09E750DAAE18}"/>
                </a:ext>
              </a:extLst>
            </p:cNvPr>
            <p:cNvSpPr/>
            <p:nvPr/>
          </p:nvSpPr>
          <p:spPr bwMode="ltGray">
            <a:xfrm>
              <a:off x="1923680" y="2795628"/>
              <a:ext cx="706226" cy="24662"/>
            </a:xfrm>
            <a:custGeom>
              <a:avLst/>
              <a:gdLst>
                <a:gd name="connsiteX0" fmla="*/ 699435 w 706225"/>
                <a:gd name="connsiteY0" fmla="*/ 18487 h 24661"/>
                <a:gd name="connsiteX1" fmla="*/ 680163 w 706225"/>
                <a:gd name="connsiteY1" fmla="*/ 18487 h 24661"/>
                <a:gd name="connsiteX2" fmla="*/ 673540 w 706225"/>
                <a:gd name="connsiteY2" fmla="*/ 7006 h 24661"/>
                <a:gd name="connsiteX3" fmla="*/ 692802 w 706225"/>
                <a:gd name="connsiteY3" fmla="*/ 7006 h 24661"/>
                <a:gd name="connsiteX4" fmla="*/ 699435 w 706225"/>
                <a:gd name="connsiteY4" fmla="*/ 18487 h 24661"/>
                <a:gd name="connsiteX5" fmla="*/ 26269 w 706225"/>
                <a:gd name="connsiteY5" fmla="*/ 18487 h 24661"/>
                <a:gd name="connsiteX6" fmla="*/ 7006 w 706225"/>
                <a:gd name="connsiteY6" fmla="*/ 18487 h 24661"/>
                <a:gd name="connsiteX7" fmla="*/ 13629 w 706225"/>
                <a:gd name="connsiteY7" fmla="*/ 7006 h 24661"/>
                <a:gd name="connsiteX8" fmla="*/ 32901 w 706225"/>
                <a:gd name="connsiteY8" fmla="*/ 7006 h 24661"/>
                <a:gd name="connsiteX9" fmla="*/ 26269 w 706225"/>
                <a:gd name="connsiteY9" fmla="*/ 18487 h 24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6225" h="24661">
                  <a:moveTo>
                    <a:pt x="699435" y="18487"/>
                  </a:moveTo>
                  <a:lnTo>
                    <a:pt x="680163" y="18487"/>
                  </a:lnTo>
                  <a:lnTo>
                    <a:pt x="673540" y="7006"/>
                  </a:lnTo>
                  <a:lnTo>
                    <a:pt x="692802" y="7006"/>
                  </a:lnTo>
                  <a:lnTo>
                    <a:pt x="699435" y="18487"/>
                  </a:lnTo>
                  <a:close/>
                  <a:moveTo>
                    <a:pt x="26269" y="18487"/>
                  </a:moveTo>
                  <a:lnTo>
                    <a:pt x="7006" y="18487"/>
                  </a:lnTo>
                  <a:lnTo>
                    <a:pt x="13629" y="7006"/>
                  </a:lnTo>
                  <a:lnTo>
                    <a:pt x="32901" y="7006"/>
                  </a:lnTo>
                  <a:lnTo>
                    <a:pt x="26269" y="18487"/>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3" name="Freeform: Shape 13532">
              <a:extLst>
                <a:ext uri="{FF2B5EF4-FFF2-40B4-BE49-F238E27FC236}">
                  <a16:creationId xmlns:a16="http://schemas.microsoft.com/office/drawing/2014/main" id="{A5EF672F-0896-442F-868B-D4091C4D75BC}"/>
                </a:ext>
              </a:extLst>
            </p:cNvPr>
            <p:cNvSpPr/>
            <p:nvPr/>
          </p:nvSpPr>
          <p:spPr bwMode="ltGray">
            <a:xfrm>
              <a:off x="3177185" y="2629692"/>
              <a:ext cx="226441" cy="190569"/>
            </a:xfrm>
            <a:custGeom>
              <a:avLst/>
              <a:gdLst>
                <a:gd name="connsiteX0" fmla="*/ 42402 w 226440"/>
                <a:gd name="connsiteY0" fmla="*/ 184422 h 190568"/>
                <a:gd name="connsiteX1" fmla="*/ 7006 w 226440"/>
                <a:gd name="connsiteY1" fmla="*/ 184422 h 190568"/>
                <a:gd name="connsiteX2" fmla="*/ 18487 w 226440"/>
                <a:gd name="connsiteY2" fmla="*/ 172941 h 190568"/>
                <a:gd name="connsiteX3" fmla="*/ 37656 w 226440"/>
                <a:gd name="connsiteY3" fmla="*/ 172941 h 190568"/>
                <a:gd name="connsiteX4" fmla="*/ 203591 w 226440"/>
                <a:gd name="connsiteY4" fmla="*/ 7006 h 190568"/>
                <a:gd name="connsiteX5" fmla="*/ 219818 w 226440"/>
                <a:gd name="connsiteY5" fmla="*/ 7006 h 190568"/>
                <a:gd name="connsiteX6" fmla="*/ 42402 w 226440"/>
                <a:gd name="connsiteY6" fmla="*/ 184422 h 190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440" h="190568">
                  <a:moveTo>
                    <a:pt x="42402" y="184422"/>
                  </a:moveTo>
                  <a:lnTo>
                    <a:pt x="7006" y="184422"/>
                  </a:lnTo>
                  <a:lnTo>
                    <a:pt x="18487" y="172941"/>
                  </a:lnTo>
                  <a:lnTo>
                    <a:pt x="37656" y="172941"/>
                  </a:lnTo>
                  <a:lnTo>
                    <a:pt x="203591" y="7006"/>
                  </a:lnTo>
                  <a:lnTo>
                    <a:pt x="219818" y="7006"/>
                  </a:lnTo>
                  <a:lnTo>
                    <a:pt x="42402" y="184422"/>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4" name="Freeform: Shape 13533">
              <a:extLst>
                <a:ext uri="{FF2B5EF4-FFF2-40B4-BE49-F238E27FC236}">
                  <a16:creationId xmlns:a16="http://schemas.microsoft.com/office/drawing/2014/main" id="{59A60870-A50F-4D63-B214-08F2EAA9D8BF}"/>
                </a:ext>
              </a:extLst>
            </p:cNvPr>
            <p:cNvSpPr/>
            <p:nvPr/>
          </p:nvSpPr>
          <p:spPr bwMode="ltGray">
            <a:xfrm>
              <a:off x="999243" y="2795628"/>
              <a:ext cx="295942" cy="24662"/>
            </a:xfrm>
            <a:custGeom>
              <a:avLst/>
              <a:gdLst>
                <a:gd name="connsiteX0" fmla="*/ 286218 w 295942"/>
                <a:gd name="connsiteY0" fmla="*/ 18487 h 24661"/>
                <a:gd name="connsiteX1" fmla="*/ 255129 w 295942"/>
                <a:gd name="connsiteY1" fmla="*/ 18487 h 24661"/>
                <a:gd name="connsiteX2" fmla="*/ 260510 w 295942"/>
                <a:gd name="connsiteY2" fmla="*/ 7006 h 24661"/>
                <a:gd name="connsiteX3" fmla="*/ 290422 w 295942"/>
                <a:gd name="connsiteY3" fmla="*/ 7006 h 24661"/>
                <a:gd name="connsiteX4" fmla="*/ 286218 w 295942"/>
                <a:gd name="connsiteY4" fmla="*/ 18487 h 24661"/>
                <a:gd name="connsiteX5" fmla="*/ 42308 w 295942"/>
                <a:gd name="connsiteY5" fmla="*/ 18487 h 24661"/>
                <a:gd name="connsiteX6" fmla="*/ 11210 w 295942"/>
                <a:gd name="connsiteY6" fmla="*/ 18487 h 24661"/>
                <a:gd name="connsiteX7" fmla="*/ 7006 w 295942"/>
                <a:gd name="connsiteY7" fmla="*/ 7006 h 24661"/>
                <a:gd name="connsiteX8" fmla="*/ 36918 w 295942"/>
                <a:gd name="connsiteY8" fmla="*/ 7006 h 24661"/>
                <a:gd name="connsiteX9" fmla="*/ 42308 w 295942"/>
                <a:gd name="connsiteY9" fmla="*/ 18487 h 24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5942" h="24661">
                  <a:moveTo>
                    <a:pt x="286218" y="18487"/>
                  </a:moveTo>
                  <a:lnTo>
                    <a:pt x="255129" y="18487"/>
                  </a:lnTo>
                  <a:cubicBezTo>
                    <a:pt x="257109" y="14769"/>
                    <a:pt x="258912" y="10939"/>
                    <a:pt x="260510" y="7006"/>
                  </a:cubicBezTo>
                  <a:lnTo>
                    <a:pt x="290422" y="7006"/>
                  </a:lnTo>
                  <a:cubicBezTo>
                    <a:pt x="289179" y="10902"/>
                    <a:pt x="287769" y="14732"/>
                    <a:pt x="286218" y="18487"/>
                  </a:cubicBezTo>
                  <a:close/>
                  <a:moveTo>
                    <a:pt x="42308" y="18487"/>
                  </a:moveTo>
                  <a:lnTo>
                    <a:pt x="11210" y="18487"/>
                  </a:lnTo>
                  <a:cubicBezTo>
                    <a:pt x="9659" y="14732"/>
                    <a:pt x="8258" y="10902"/>
                    <a:pt x="7006" y="7006"/>
                  </a:cubicBezTo>
                  <a:lnTo>
                    <a:pt x="36918" y="7006"/>
                  </a:lnTo>
                  <a:cubicBezTo>
                    <a:pt x="38515" y="10939"/>
                    <a:pt x="40318" y="14769"/>
                    <a:pt x="42308" y="18487"/>
                  </a:cubicBez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5" name="Freeform: Shape 13534">
              <a:extLst>
                <a:ext uri="{FF2B5EF4-FFF2-40B4-BE49-F238E27FC236}">
                  <a16:creationId xmlns:a16="http://schemas.microsoft.com/office/drawing/2014/main" id="{8BECC371-482C-43A8-9C08-368B5204A33E}"/>
                </a:ext>
              </a:extLst>
            </p:cNvPr>
            <p:cNvSpPr/>
            <p:nvPr/>
          </p:nvSpPr>
          <p:spPr bwMode="ltGray">
            <a:xfrm>
              <a:off x="496636" y="2795628"/>
              <a:ext cx="103131" cy="24662"/>
            </a:xfrm>
            <a:custGeom>
              <a:avLst/>
              <a:gdLst>
                <a:gd name="connsiteX0" fmla="*/ 86597 w 103131"/>
                <a:gd name="connsiteY0" fmla="*/ 18487 h 24661"/>
                <a:gd name="connsiteX1" fmla="*/ 7006 w 103131"/>
                <a:gd name="connsiteY1" fmla="*/ 18487 h 24661"/>
                <a:gd name="connsiteX2" fmla="*/ 18487 w 103131"/>
                <a:gd name="connsiteY2" fmla="*/ 7006 h 24661"/>
                <a:gd name="connsiteX3" fmla="*/ 98078 w 103131"/>
                <a:gd name="connsiteY3" fmla="*/ 7006 h 24661"/>
                <a:gd name="connsiteX4" fmla="*/ 86597 w 103131"/>
                <a:gd name="connsiteY4" fmla="*/ 18487 h 24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131" h="24661">
                  <a:moveTo>
                    <a:pt x="86597" y="18487"/>
                  </a:moveTo>
                  <a:lnTo>
                    <a:pt x="7006" y="18487"/>
                  </a:lnTo>
                  <a:lnTo>
                    <a:pt x="18487" y="7006"/>
                  </a:lnTo>
                  <a:lnTo>
                    <a:pt x="98078" y="7006"/>
                  </a:lnTo>
                  <a:lnTo>
                    <a:pt x="86597" y="18487"/>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6" name="Freeform: Shape 13535">
              <a:extLst>
                <a:ext uri="{FF2B5EF4-FFF2-40B4-BE49-F238E27FC236}">
                  <a16:creationId xmlns:a16="http://schemas.microsoft.com/office/drawing/2014/main" id="{B86E2BF8-56AA-4102-B7CA-BF399ADCBBD3}"/>
                </a:ext>
              </a:extLst>
            </p:cNvPr>
            <p:cNvSpPr/>
            <p:nvPr/>
          </p:nvSpPr>
          <p:spPr bwMode="ltGray">
            <a:xfrm>
              <a:off x="3434948" y="2551625"/>
              <a:ext cx="47082" cy="29146"/>
            </a:xfrm>
            <a:custGeom>
              <a:avLst/>
              <a:gdLst>
                <a:gd name="connsiteX0" fmla="*/ 23233 w 47081"/>
                <a:gd name="connsiteY0" fmla="*/ 23896 h 29145"/>
                <a:gd name="connsiteX1" fmla="*/ 7006 w 47081"/>
                <a:gd name="connsiteY1" fmla="*/ 23896 h 29145"/>
                <a:gd name="connsiteX2" fmla="*/ 23896 w 47081"/>
                <a:gd name="connsiteY2" fmla="*/ 7006 h 29145"/>
                <a:gd name="connsiteX3" fmla="*/ 40122 w 47081"/>
                <a:gd name="connsiteY3" fmla="*/ 7006 h 29145"/>
                <a:gd name="connsiteX4" fmla="*/ 23233 w 47081"/>
                <a:gd name="connsiteY4" fmla="*/ 23896 h 29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81" h="29145">
                  <a:moveTo>
                    <a:pt x="23233" y="23896"/>
                  </a:moveTo>
                  <a:lnTo>
                    <a:pt x="7006" y="23896"/>
                  </a:lnTo>
                  <a:lnTo>
                    <a:pt x="23896" y="7006"/>
                  </a:lnTo>
                  <a:lnTo>
                    <a:pt x="40122" y="7006"/>
                  </a:lnTo>
                  <a:lnTo>
                    <a:pt x="23233" y="23896"/>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7" name="Freeform: Shape 13536">
              <a:extLst>
                <a:ext uri="{FF2B5EF4-FFF2-40B4-BE49-F238E27FC236}">
                  <a16:creationId xmlns:a16="http://schemas.microsoft.com/office/drawing/2014/main" id="{0B8643C1-1B8A-4973-BEBE-ADF347123535}"/>
                </a:ext>
              </a:extLst>
            </p:cNvPr>
            <p:cNvSpPr/>
            <p:nvPr/>
          </p:nvSpPr>
          <p:spPr bwMode="ltGray">
            <a:xfrm>
              <a:off x="3698242" y="1294159"/>
              <a:ext cx="3546822" cy="1024588"/>
            </a:xfrm>
            <a:custGeom>
              <a:avLst/>
              <a:gdLst>
                <a:gd name="connsiteX0" fmla="*/ 23233 w 3546822"/>
                <a:gd name="connsiteY0" fmla="*/ 1018068 h 1024587"/>
                <a:gd name="connsiteX1" fmla="*/ 7006 w 3546822"/>
                <a:gd name="connsiteY1" fmla="*/ 1018068 h 1024587"/>
                <a:gd name="connsiteX2" fmla="*/ 83626 w 3546822"/>
                <a:gd name="connsiteY2" fmla="*/ 941448 h 1024587"/>
                <a:gd name="connsiteX3" fmla="*/ 198388 w 3546822"/>
                <a:gd name="connsiteY3" fmla="*/ 826686 h 1024587"/>
                <a:gd name="connsiteX4" fmla="*/ 237679 w 3546822"/>
                <a:gd name="connsiteY4" fmla="*/ 787396 h 1024587"/>
                <a:gd name="connsiteX5" fmla="*/ 249150 w 3546822"/>
                <a:gd name="connsiteY5" fmla="*/ 775924 h 1024587"/>
                <a:gd name="connsiteX6" fmla="*/ 355318 w 3546822"/>
                <a:gd name="connsiteY6" fmla="*/ 669757 h 1024587"/>
                <a:gd name="connsiteX7" fmla="*/ 571735 w 3546822"/>
                <a:gd name="connsiteY7" fmla="*/ 669757 h 1024587"/>
                <a:gd name="connsiteX8" fmla="*/ 847163 w 3546822"/>
                <a:gd name="connsiteY8" fmla="*/ 259482 h 1024587"/>
                <a:gd name="connsiteX9" fmla="*/ 2901992 w 3546822"/>
                <a:gd name="connsiteY9" fmla="*/ 259482 h 1024587"/>
                <a:gd name="connsiteX10" fmla="*/ 3139176 w 3546822"/>
                <a:gd name="connsiteY10" fmla="*/ 7006 h 1024587"/>
                <a:gd name="connsiteX11" fmla="*/ 3541417 w 3546822"/>
                <a:gd name="connsiteY11" fmla="*/ 7006 h 1024587"/>
                <a:gd name="connsiteX12" fmla="*/ 3541417 w 3546822"/>
                <a:gd name="connsiteY12" fmla="*/ 18478 h 1024587"/>
                <a:gd name="connsiteX13" fmla="*/ 3144136 w 3546822"/>
                <a:gd name="connsiteY13" fmla="*/ 18478 h 1024587"/>
                <a:gd name="connsiteX14" fmla="*/ 2906962 w 3546822"/>
                <a:gd name="connsiteY14" fmla="*/ 270963 h 1024587"/>
                <a:gd name="connsiteX15" fmla="*/ 853282 w 3546822"/>
                <a:gd name="connsiteY15" fmla="*/ 270963 h 1024587"/>
                <a:gd name="connsiteX16" fmla="*/ 577854 w 3546822"/>
                <a:gd name="connsiteY16" fmla="*/ 681237 h 1024587"/>
                <a:gd name="connsiteX17" fmla="*/ 360063 w 3546822"/>
                <a:gd name="connsiteY17" fmla="*/ 681237 h 1024587"/>
                <a:gd name="connsiteX18" fmla="*/ 265377 w 3546822"/>
                <a:gd name="connsiteY18" fmla="*/ 775924 h 1024587"/>
                <a:gd name="connsiteX19" fmla="*/ 253905 w 3546822"/>
                <a:gd name="connsiteY19" fmla="*/ 787396 h 1024587"/>
                <a:gd name="connsiteX20" fmla="*/ 214614 w 3546822"/>
                <a:gd name="connsiteY20" fmla="*/ 826686 h 1024587"/>
                <a:gd name="connsiteX21" fmla="*/ 99843 w 3546822"/>
                <a:gd name="connsiteY21" fmla="*/ 941448 h 1024587"/>
                <a:gd name="connsiteX22" fmla="*/ 23233 w 3546822"/>
                <a:gd name="connsiteY22" fmla="*/ 1018068 h 1024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46822" h="1024587">
                  <a:moveTo>
                    <a:pt x="23233" y="1018068"/>
                  </a:moveTo>
                  <a:lnTo>
                    <a:pt x="7006" y="1018068"/>
                  </a:lnTo>
                  <a:lnTo>
                    <a:pt x="83626" y="941448"/>
                  </a:lnTo>
                  <a:lnTo>
                    <a:pt x="198388" y="826686"/>
                  </a:lnTo>
                  <a:lnTo>
                    <a:pt x="237679" y="787396"/>
                  </a:lnTo>
                  <a:lnTo>
                    <a:pt x="249150" y="775924"/>
                  </a:lnTo>
                  <a:lnTo>
                    <a:pt x="355318" y="669757"/>
                  </a:lnTo>
                  <a:lnTo>
                    <a:pt x="571735" y="669757"/>
                  </a:lnTo>
                  <a:lnTo>
                    <a:pt x="847163" y="259482"/>
                  </a:lnTo>
                  <a:lnTo>
                    <a:pt x="2901992" y="259482"/>
                  </a:lnTo>
                  <a:lnTo>
                    <a:pt x="3139176" y="7006"/>
                  </a:lnTo>
                  <a:lnTo>
                    <a:pt x="3541417" y="7006"/>
                  </a:lnTo>
                  <a:lnTo>
                    <a:pt x="3541417" y="18478"/>
                  </a:lnTo>
                  <a:lnTo>
                    <a:pt x="3144136" y="18478"/>
                  </a:lnTo>
                  <a:lnTo>
                    <a:pt x="2906962" y="270963"/>
                  </a:lnTo>
                  <a:lnTo>
                    <a:pt x="853282" y="270963"/>
                  </a:lnTo>
                  <a:lnTo>
                    <a:pt x="577854" y="681237"/>
                  </a:lnTo>
                  <a:lnTo>
                    <a:pt x="360063" y="681237"/>
                  </a:lnTo>
                  <a:lnTo>
                    <a:pt x="265377" y="775924"/>
                  </a:lnTo>
                  <a:lnTo>
                    <a:pt x="253905" y="787396"/>
                  </a:lnTo>
                  <a:lnTo>
                    <a:pt x="214614" y="826686"/>
                  </a:lnTo>
                  <a:lnTo>
                    <a:pt x="99843" y="941448"/>
                  </a:lnTo>
                  <a:lnTo>
                    <a:pt x="23233" y="1018068"/>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8" name="Freeform: Shape 13537">
              <a:extLst>
                <a:ext uri="{FF2B5EF4-FFF2-40B4-BE49-F238E27FC236}">
                  <a16:creationId xmlns:a16="http://schemas.microsoft.com/office/drawing/2014/main" id="{A41678D2-6F70-43E4-ADB5-3854CC8F468A}"/>
                </a:ext>
              </a:extLst>
            </p:cNvPr>
            <p:cNvSpPr/>
            <p:nvPr/>
          </p:nvSpPr>
          <p:spPr bwMode="ltGray">
            <a:xfrm>
              <a:off x="3689778" y="2305221"/>
              <a:ext cx="38114" cy="22420"/>
            </a:xfrm>
            <a:custGeom>
              <a:avLst/>
              <a:gdLst>
                <a:gd name="connsiteX0" fmla="*/ 23233 w 38113"/>
                <a:gd name="connsiteY0" fmla="*/ 15470 h 22419"/>
                <a:gd name="connsiteX1" fmla="*/ 7006 w 38113"/>
                <a:gd name="connsiteY1" fmla="*/ 15470 h 22419"/>
                <a:gd name="connsiteX2" fmla="*/ 15470 w 38113"/>
                <a:gd name="connsiteY2" fmla="*/ 7006 h 22419"/>
                <a:gd name="connsiteX3" fmla="*/ 31696 w 38113"/>
                <a:gd name="connsiteY3" fmla="*/ 7006 h 22419"/>
                <a:gd name="connsiteX4" fmla="*/ 23233 w 38113"/>
                <a:gd name="connsiteY4" fmla="*/ 15470 h 22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13" h="22419">
                  <a:moveTo>
                    <a:pt x="23233" y="15470"/>
                  </a:moveTo>
                  <a:lnTo>
                    <a:pt x="7006" y="15470"/>
                  </a:lnTo>
                  <a:lnTo>
                    <a:pt x="15470" y="7006"/>
                  </a:lnTo>
                  <a:lnTo>
                    <a:pt x="31696" y="7006"/>
                  </a:lnTo>
                  <a:lnTo>
                    <a:pt x="23233" y="15470"/>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39" name="Freeform: Shape 13538">
              <a:extLst>
                <a:ext uri="{FF2B5EF4-FFF2-40B4-BE49-F238E27FC236}">
                  <a16:creationId xmlns:a16="http://schemas.microsoft.com/office/drawing/2014/main" id="{C7A2ED97-8677-46FB-A4DD-3B9E73AA4B80}"/>
                </a:ext>
              </a:extLst>
            </p:cNvPr>
            <p:cNvSpPr/>
            <p:nvPr/>
          </p:nvSpPr>
          <p:spPr bwMode="ltGray">
            <a:xfrm>
              <a:off x="-2860" y="2795628"/>
              <a:ext cx="457365" cy="24662"/>
            </a:xfrm>
            <a:custGeom>
              <a:avLst/>
              <a:gdLst>
                <a:gd name="connsiteX0" fmla="*/ 439009 w 457365"/>
                <a:gd name="connsiteY0" fmla="*/ 18487 h 24661"/>
                <a:gd name="connsiteX1" fmla="*/ 7006 w 457365"/>
                <a:gd name="connsiteY1" fmla="*/ 18487 h 24661"/>
                <a:gd name="connsiteX2" fmla="*/ 7006 w 457365"/>
                <a:gd name="connsiteY2" fmla="*/ 7006 h 24661"/>
                <a:gd name="connsiteX3" fmla="*/ 450481 w 457365"/>
                <a:gd name="connsiteY3" fmla="*/ 7006 h 24661"/>
                <a:gd name="connsiteX4" fmla="*/ 439009 w 457365"/>
                <a:gd name="connsiteY4" fmla="*/ 18487 h 24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365" h="24661">
                  <a:moveTo>
                    <a:pt x="439009" y="18487"/>
                  </a:moveTo>
                  <a:lnTo>
                    <a:pt x="7006" y="18487"/>
                  </a:lnTo>
                  <a:lnTo>
                    <a:pt x="7006" y="7006"/>
                  </a:lnTo>
                  <a:lnTo>
                    <a:pt x="450481" y="7006"/>
                  </a:lnTo>
                  <a:lnTo>
                    <a:pt x="439009" y="18487"/>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40" name="Freeform: Shape 13539">
              <a:extLst>
                <a:ext uri="{FF2B5EF4-FFF2-40B4-BE49-F238E27FC236}">
                  <a16:creationId xmlns:a16="http://schemas.microsoft.com/office/drawing/2014/main" id="{48DB0751-2F2A-4602-B600-8045B0F1E4F9}"/>
                </a:ext>
              </a:extLst>
            </p:cNvPr>
            <p:cNvSpPr/>
            <p:nvPr/>
          </p:nvSpPr>
          <p:spPr bwMode="ltGray">
            <a:xfrm>
              <a:off x="429143" y="2795628"/>
              <a:ext cx="31388" cy="24662"/>
            </a:xfrm>
            <a:custGeom>
              <a:avLst/>
              <a:gdLst>
                <a:gd name="connsiteX0" fmla="*/ 14956 w 31387"/>
                <a:gd name="connsiteY0" fmla="*/ 18487 h 24661"/>
                <a:gd name="connsiteX1" fmla="*/ 7006 w 31387"/>
                <a:gd name="connsiteY1" fmla="*/ 18487 h 24661"/>
                <a:gd name="connsiteX2" fmla="*/ 18478 w 31387"/>
                <a:gd name="connsiteY2" fmla="*/ 7006 h 24661"/>
                <a:gd name="connsiteX3" fmla="*/ 26437 w 31387"/>
                <a:gd name="connsiteY3" fmla="*/ 7006 h 24661"/>
                <a:gd name="connsiteX4" fmla="*/ 14956 w 31387"/>
                <a:gd name="connsiteY4" fmla="*/ 18487 h 246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87" h="24661">
                  <a:moveTo>
                    <a:pt x="14956" y="18487"/>
                  </a:moveTo>
                  <a:lnTo>
                    <a:pt x="7006" y="18487"/>
                  </a:lnTo>
                  <a:lnTo>
                    <a:pt x="18478" y="7006"/>
                  </a:lnTo>
                  <a:lnTo>
                    <a:pt x="26437" y="7006"/>
                  </a:lnTo>
                  <a:lnTo>
                    <a:pt x="14956" y="18487"/>
                  </a:lnTo>
                  <a:close/>
                </a:path>
              </a:pathLst>
            </a:custGeom>
            <a:solidFill>
              <a:srgbClr val="FFFFFF"/>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41" name="Freeform: Shape 13540">
              <a:extLst>
                <a:ext uri="{FF2B5EF4-FFF2-40B4-BE49-F238E27FC236}">
                  <a16:creationId xmlns:a16="http://schemas.microsoft.com/office/drawing/2014/main" id="{25B6ED6C-7D3D-45A0-8A4E-34EF767693EB}"/>
                </a:ext>
              </a:extLst>
            </p:cNvPr>
            <p:cNvSpPr/>
            <p:nvPr/>
          </p:nvSpPr>
          <p:spPr bwMode="ltGray">
            <a:xfrm>
              <a:off x="4379937" y="2655148"/>
              <a:ext cx="89679" cy="89679"/>
            </a:xfrm>
            <a:custGeom>
              <a:avLst/>
              <a:gdLst>
                <a:gd name="connsiteX0" fmla="*/ 45793 w 89679"/>
                <a:gd name="connsiteY0" fmla="*/ 84579 h 89679"/>
                <a:gd name="connsiteX1" fmla="*/ 7006 w 89679"/>
                <a:gd name="connsiteY1" fmla="*/ 45793 h 89679"/>
                <a:gd name="connsiteX2" fmla="*/ 45793 w 89679"/>
                <a:gd name="connsiteY2" fmla="*/ 7006 h 89679"/>
                <a:gd name="connsiteX3" fmla="*/ 84579 w 89679"/>
                <a:gd name="connsiteY3" fmla="*/ 45793 h 89679"/>
                <a:gd name="connsiteX4" fmla="*/ 45793 w 89679"/>
                <a:gd name="connsiteY4" fmla="*/ 84579 h 89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679" h="89679">
                  <a:moveTo>
                    <a:pt x="45793" y="84579"/>
                  </a:moveTo>
                  <a:cubicBezTo>
                    <a:pt x="24372" y="84579"/>
                    <a:pt x="7006" y="67213"/>
                    <a:pt x="7006" y="45793"/>
                  </a:cubicBezTo>
                  <a:cubicBezTo>
                    <a:pt x="7006" y="24372"/>
                    <a:pt x="24372" y="7006"/>
                    <a:pt x="45793" y="7006"/>
                  </a:cubicBezTo>
                  <a:cubicBezTo>
                    <a:pt x="67213" y="7006"/>
                    <a:pt x="84579" y="24372"/>
                    <a:pt x="84579" y="45793"/>
                  </a:cubicBezTo>
                  <a:cubicBezTo>
                    <a:pt x="84579" y="67213"/>
                    <a:pt x="67213" y="84579"/>
                    <a:pt x="45793" y="84579"/>
                  </a:cubicBez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sp>
          <p:nvSpPr>
            <p:cNvPr id="13542" name="Freeform: Shape 13541">
              <a:extLst>
                <a:ext uri="{FF2B5EF4-FFF2-40B4-BE49-F238E27FC236}">
                  <a16:creationId xmlns:a16="http://schemas.microsoft.com/office/drawing/2014/main" id="{FD543DDA-201A-4B6F-ADB9-9F965845FD34}"/>
                </a:ext>
              </a:extLst>
            </p:cNvPr>
            <p:cNvSpPr/>
            <p:nvPr/>
          </p:nvSpPr>
          <p:spPr bwMode="ltGray">
            <a:xfrm>
              <a:off x="7441138" y="1139256"/>
              <a:ext cx="842987" cy="186085"/>
            </a:xfrm>
            <a:custGeom>
              <a:avLst/>
              <a:gdLst>
                <a:gd name="connsiteX0" fmla="*/ 379054 w 842986"/>
                <a:gd name="connsiteY0" fmla="*/ 179125 h 186084"/>
                <a:gd name="connsiteX1" fmla="*/ 7006 w 842986"/>
                <a:gd name="connsiteY1" fmla="*/ 179125 h 186084"/>
                <a:gd name="connsiteX2" fmla="*/ 7006 w 842986"/>
                <a:gd name="connsiteY2" fmla="*/ 156173 h 186084"/>
                <a:gd name="connsiteX3" fmla="*/ 369545 w 842986"/>
                <a:gd name="connsiteY3" fmla="*/ 156173 h 186084"/>
                <a:gd name="connsiteX4" fmla="*/ 518712 w 842986"/>
                <a:gd name="connsiteY4" fmla="*/ 7006 h 186084"/>
                <a:gd name="connsiteX5" fmla="*/ 837121 w 842986"/>
                <a:gd name="connsiteY5" fmla="*/ 7006 h 186084"/>
                <a:gd name="connsiteX6" fmla="*/ 837121 w 842986"/>
                <a:gd name="connsiteY6" fmla="*/ 29959 h 186084"/>
                <a:gd name="connsiteX7" fmla="*/ 528212 w 842986"/>
                <a:gd name="connsiteY7" fmla="*/ 29959 h 186084"/>
                <a:gd name="connsiteX8" fmla="*/ 379054 w 842986"/>
                <a:gd name="connsiteY8" fmla="*/ 179125 h 186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2986" h="186084">
                  <a:moveTo>
                    <a:pt x="379054" y="179125"/>
                  </a:moveTo>
                  <a:lnTo>
                    <a:pt x="7006" y="179125"/>
                  </a:lnTo>
                  <a:lnTo>
                    <a:pt x="7006" y="156173"/>
                  </a:lnTo>
                  <a:lnTo>
                    <a:pt x="369545" y="156173"/>
                  </a:lnTo>
                  <a:lnTo>
                    <a:pt x="518712" y="7006"/>
                  </a:lnTo>
                  <a:lnTo>
                    <a:pt x="837121" y="7006"/>
                  </a:lnTo>
                  <a:lnTo>
                    <a:pt x="837121" y="29959"/>
                  </a:lnTo>
                  <a:lnTo>
                    <a:pt x="528212" y="29959"/>
                  </a:lnTo>
                  <a:lnTo>
                    <a:pt x="379054" y="179125"/>
                  </a:lnTo>
                  <a:close/>
                </a:path>
              </a:pathLst>
            </a:custGeom>
            <a:solidFill>
              <a:schemeClr val="accent3"/>
            </a:solidFill>
            <a:ln w="39688" cap="flat">
              <a:noFill/>
              <a:prstDash val="solid"/>
              <a:round/>
            </a:ln>
          </p:spPr>
          <p:txBody>
            <a:bodyPr rtlCol="0" anchor="ctr"/>
            <a:lstStyle/>
            <a:p>
              <a:endParaRPr lang="fr-FR" sz="1837" dirty="0">
                <a:latin typeface="+mn-lt"/>
                <a:ea typeface="+mn-ea"/>
                <a:cs typeface="+mn-cs"/>
                <a:sym typeface="+mn-lt"/>
              </a:endParaRPr>
            </a:p>
          </p:txBody>
        </p:sp>
      </p:grpSp>
      <p:sp>
        <p:nvSpPr>
          <p:cNvPr id="9" name="Document type" hidden="1"/>
          <p:cNvSpPr txBox="1">
            <a:spLocks noChangeArrowheads="1"/>
          </p:cNvSpPr>
          <p:nvPr/>
        </p:nvSpPr>
        <p:spPr bwMode="gray">
          <a:xfrm>
            <a:off x="323828" y="6015935"/>
            <a:ext cx="5374055"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fr-FR" sz="1428" baseline="0" noProof="0" dirty="0">
                <a:solidFill>
                  <a:schemeClr val="bg1"/>
                </a:solidFill>
                <a:latin typeface="+mn-lt"/>
                <a:ea typeface="+mn-ea"/>
                <a:cs typeface="+mn-cs"/>
                <a:sym typeface="+mn-lt"/>
              </a:rPr>
              <a:t>Type de document</a:t>
            </a:r>
          </a:p>
        </p:txBody>
      </p:sp>
      <p:sp>
        <p:nvSpPr>
          <p:cNvPr id="10" name="Date" hidden="1"/>
          <p:cNvSpPr txBox="1">
            <a:spLocks noChangeArrowheads="1"/>
          </p:cNvSpPr>
          <p:nvPr/>
        </p:nvSpPr>
        <p:spPr bwMode="gray">
          <a:xfrm>
            <a:off x="323828" y="6293590"/>
            <a:ext cx="5374055"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fr-FR" sz="1428" baseline="0" noProof="0" dirty="0">
                <a:solidFill>
                  <a:schemeClr val="bg1"/>
                </a:solidFill>
                <a:latin typeface="+mn-lt"/>
                <a:ea typeface="+mn-ea"/>
                <a:cs typeface="+mn-cs"/>
                <a:sym typeface="+mn-lt"/>
              </a:rPr>
              <a:t>Date</a:t>
            </a:r>
          </a:p>
        </p:txBody>
      </p:sp>
      <p:sp>
        <p:nvSpPr>
          <p:cNvPr id="13314" name="Rectangle 1026"/>
          <p:cNvSpPr>
            <a:spLocks noGrp="1" noChangeArrowheads="1"/>
          </p:cNvSpPr>
          <p:nvPr>
            <p:ph type="ctrTitle"/>
          </p:nvPr>
        </p:nvSpPr>
        <p:spPr bwMode="ltGray">
          <a:xfrm>
            <a:off x="323829" y="344125"/>
            <a:ext cx="5829441" cy="502445"/>
          </a:xfrm>
          <a:prstGeom prst="rect">
            <a:avLst/>
          </a:prstGeom>
        </p:spPr>
        <p:txBody>
          <a:bodyPr wrap="square">
            <a:spAutoFit/>
          </a:bodyPr>
          <a:lstStyle>
            <a:lvl1pPr>
              <a:defRPr sz="3265" b="1" baseline="0">
                <a:solidFill>
                  <a:schemeClr val="bg1"/>
                </a:solidFill>
                <a:latin typeface="+mj-lt"/>
                <a:ea typeface="+mj-ea"/>
                <a:cs typeface="+mj-cs"/>
                <a:sym typeface="+mj-lt"/>
              </a:defRPr>
            </a:lvl1pPr>
          </a:lstStyle>
          <a:p>
            <a:pPr lvl="0"/>
            <a:r>
              <a:rPr lang="fr-FR" noProof="0" dirty="0"/>
              <a:t>Click to </a:t>
            </a:r>
            <a:r>
              <a:rPr lang="fr-FR" noProof="0" dirty="0" err="1"/>
              <a:t>edit</a:t>
            </a:r>
            <a:r>
              <a:rPr lang="fr-FR" noProof="0" dirty="0"/>
              <a:t> Master </a:t>
            </a:r>
            <a:r>
              <a:rPr lang="fr-FR" noProof="0" dirty="0" err="1"/>
              <a:t>title</a:t>
            </a:r>
            <a:r>
              <a:rPr lang="fr-FR" noProof="0" dirty="0"/>
              <a:t> style</a:t>
            </a:r>
          </a:p>
        </p:txBody>
      </p:sp>
      <p:sp>
        <p:nvSpPr>
          <p:cNvPr id="13315" name="Rectangle 1027"/>
          <p:cNvSpPr>
            <a:spLocks noGrp="1" noChangeArrowheads="1"/>
          </p:cNvSpPr>
          <p:nvPr>
            <p:ph type="subTitle" idx="1"/>
          </p:nvPr>
        </p:nvSpPr>
        <p:spPr bwMode="ltGray">
          <a:xfrm>
            <a:off x="323829" y="2112885"/>
            <a:ext cx="5829441" cy="219820"/>
          </a:xfrm>
        </p:spPr>
        <p:txBody>
          <a:bodyPr wrap="square">
            <a:spAutoFit/>
          </a:bodyPr>
          <a:lstStyle>
            <a:lvl1pPr>
              <a:defRPr sz="1428" b="1" baseline="0">
                <a:solidFill>
                  <a:schemeClr val="bg1"/>
                </a:solidFill>
                <a:latin typeface="+mn-lt"/>
                <a:ea typeface="+mn-ea"/>
                <a:cs typeface="+mn-cs"/>
                <a:sym typeface="+mn-lt"/>
              </a:defRPr>
            </a:lvl1pPr>
          </a:lstStyle>
          <a:p>
            <a:pPr lvl="0"/>
            <a:r>
              <a:rPr lang="fr-FR" noProof="0" dirty="0"/>
              <a:t>Click to </a:t>
            </a:r>
            <a:r>
              <a:rPr lang="fr-FR" noProof="0" dirty="0" err="1"/>
              <a:t>edit</a:t>
            </a:r>
            <a:r>
              <a:rPr lang="fr-FR" noProof="0" dirty="0"/>
              <a:t> Master </a:t>
            </a:r>
            <a:r>
              <a:rPr lang="fr-FR" noProof="0" dirty="0" err="1"/>
              <a:t>subtitle</a:t>
            </a:r>
            <a:r>
              <a:rPr lang="fr-FR" noProof="0" dirty="0"/>
              <a:t> style</a:t>
            </a:r>
          </a:p>
        </p:txBody>
      </p:sp>
      <p:grpSp>
        <p:nvGrpSpPr>
          <p:cNvPr id="13545" name="Group 13544">
            <a:extLst>
              <a:ext uri="{FF2B5EF4-FFF2-40B4-BE49-F238E27FC236}">
                <a16:creationId xmlns:a16="http://schemas.microsoft.com/office/drawing/2014/main" id="{4C658A8A-D42D-46D4-B080-AD7BFE1FB15A}"/>
              </a:ext>
            </a:extLst>
          </p:cNvPr>
          <p:cNvGrpSpPr/>
          <p:nvPr userDrawn="1"/>
        </p:nvGrpSpPr>
        <p:grpSpPr bwMode="ltGray">
          <a:xfrm>
            <a:off x="8427681" y="344125"/>
            <a:ext cx="3418301" cy="1288578"/>
            <a:chOff x="8259786" y="337274"/>
            <a:chExt cx="3350202" cy="1262926"/>
          </a:xfrm>
        </p:grpSpPr>
        <p:sp>
          <p:nvSpPr>
            <p:cNvPr id="315" name="TextBox 314">
              <a:extLst>
                <a:ext uri="{FF2B5EF4-FFF2-40B4-BE49-F238E27FC236}">
                  <a16:creationId xmlns:a16="http://schemas.microsoft.com/office/drawing/2014/main" id="{DB6AE924-4E09-4FC5-A02E-66A1A22871A1}"/>
                </a:ext>
              </a:extLst>
            </p:cNvPr>
            <p:cNvSpPr txBox="1">
              <a:spLocks noChangeArrowheads="1"/>
            </p:cNvSpPr>
            <p:nvPr userDrawn="1"/>
          </p:nvSpPr>
          <p:spPr bwMode="ltGray">
            <a:xfrm>
              <a:off x="9308583" y="1408789"/>
              <a:ext cx="1688680" cy="191411"/>
            </a:xfrm>
            <a:custGeom>
              <a:avLst/>
              <a:gdLst/>
              <a:ahLst/>
              <a:cxnLst/>
              <a:rect l="l" t="t" r="r" b="b"/>
              <a:pathLst>
                <a:path w="1775138" h="201211">
                  <a:moveTo>
                    <a:pt x="1612059" y="57443"/>
                  </a:moveTo>
                  <a:cubicBezTo>
                    <a:pt x="1603502" y="57443"/>
                    <a:pt x="1596352" y="60938"/>
                    <a:pt x="1590612" y="67926"/>
                  </a:cubicBezTo>
                  <a:cubicBezTo>
                    <a:pt x="1584871" y="74915"/>
                    <a:pt x="1582001" y="85933"/>
                    <a:pt x="1582001" y="100980"/>
                  </a:cubicBezTo>
                  <a:cubicBezTo>
                    <a:pt x="1582001" y="115528"/>
                    <a:pt x="1585067" y="126403"/>
                    <a:pt x="1591200" y="133606"/>
                  </a:cubicBezTo>
                  <a:cubicBezTo>
                    <a:pt x="1597333" y="140809"/>
                    <a:pt x="1604571" y="144410"/>
                    <a:pt x="1612915" y="144410"/>
                  </a:cubicBezTo>
                  <a:cubicBezTo>
                    <a:pt x="1621330" y="144410"/>
                    <a:pt x="1628479" y="140969"/>
                    <a:pt x="1634363" y="134087"/>
                  </a:cubicBezTo>
                  <a:cubicBezTo>
                    <a:pt x="1640246" y="127206"/>
                    <a:pt x="1643188" y="116705"/>
                    <a:pt x="1643188" y="102585"/>
                  </a:cubicBezTo>
                  <a:cubicBezTo>
                    <a:pt x="1643188" y="87038"/>
                    <a:pt x="1640192" y="75628"/>
                    <a:pt x="1634202" y="68354"/>
                  </a:cubicBezTo>
                  <a:cubicBezTo>
                    <a:pt x="1628212" y="61080"/>
                    <a:pt x="1620831" y="57443"/>
                    <a:pt x="1612059" y="57443"/>
                  </a:cubicBezTo>
                  <a:close/>
                  <a:moveTo>
                    <a:pt x="596093" y="57443"/>
                  </a:moveTo>
                  <a:cubicBezTo>
                    <a:pt x="586466" y="57443"/>
                    <a:pt x="578479" y="61044"/>
                    <a:pt x="572132" y="68247"/>
                  </a:cubicBezTo>
                  <a:cubicBezTo>
                    <a:pt x="565785" y="75450"/>
                    <a:pt x="562612" y="86325"/>
                    <a:pt x="562612" y="100873"/>
                  </a:cubicBezTo>
                  <a:cubicBezTo>
                    <a:pt x="562612" y="115421"/>
                    <a:pt x="565785" y="126314"/>
                    <a:pt x="572132" y="133552"/>
                  </a:cubicBezTo>
                  <a:cubicBezTo>
                    <a:pt x="578479" y="140791"/>
                    <a:pt x="586466" y="144410"/>
                    <a:pt x="596093" y="144410"/>
                  </a:cubicBezTo>
                  <a:cubicBezTo>
                    <a:pt x="605649" y="144410"/>
                    <a:pt x="613601" y="140773"/>
                    <a:pt x="619948" y="133499"/>
                  </a:cubicBezTo>
                  <a:cubicBezTo>
                    <a:pt x="626295" y="126225"/>
                    <a:pt x="629468" y="115136"/>
                    <a:pt x="629468" y="100231"/>
                  </a:cubicBezTo>
                  <a:cubicBezTo>
                    <a:pt x="629468" y="86182"/>
                    <a:pt x="626277" y="75539"/>
                    <a:pt x="619894" y="68301"/>
                  </a:cubicBezTo>
                  <a:cubicBezTo>
                    <a:pt x="613512" y="61062"/>
                    <a:pt x="605578" y="57443"/>
                    <a:pt x="596093" y="57443"/>
                  </a:cubicBezTo>
                  <a:close/>
                  <a:moveTo>
                    <a:pt x="1244542" y="57336"/>
                  </a:moveTo>
                  <a:cubicBezTo>
                    <a:pt x="1235699" y="57336"/>
                    <a:pt x="1228265" y="60296"/>
                    <a:pt x="1222239" y="66215"/>
                  </a:cubicBezTo>
                  <a:cubicBezTo>
                    <a:pt x="1216213" y="72134"/>
                    <a:pt x="1212879" y="80050"/>
                    <a:pt x="1212237" y="89962"/>
                  </a:cubicBezTo>
                  <a:lnTo>
                    <a:pt x="1275670" y="89962"/>
                  </a:lnTo>
                  <a:cubicBezTo>
                    <a:pt x="1274815" y="80406"/>
                    <a:pt x="1272390" y="73239"/>
                    <a:pt x="1268396" y="68461"/>
                  </a:cubicBezTo>
                  <a:cubicBezTo>
                    <a:pt x="1262263" y="61044"/>
                    <a:pt x="1254312" y="57336"/>
                    <a:pt x="1244542" y="57336"/>
                  </a:cubicBezTo>
                  <a:close/>
                  <a:moveTo>
                    <a:pt x="949267" y="57336"/>
                  </a:moveTo>
                  <a:cubicBezTo>
                    <a:pt x="940424" y="57336"/>
                    <a:pt x="932990" y="60296"/>
                    <a:pt x="926964" y="66215"/>
                  </a:cubicBezTo>
                  <a:cubicBezTo>
                    <a:pt x="920938" y="72134"/>
                    <a:pt x="917604" y="80050"/>
                    <a:pt x="916962" y="89962"/>
                  </a:cubicBezTo>
                  <a:lnTo>
                    <a:pt x="980395" y="89962"/>
                  </a:lnTo>
                  <a:cubicBezTo>
                    <a:pt x="979540" y="80406"/>
                    <a:pt x="977115" y="73239"/>
                    <a:pt x="973122" y="68461"/>
                  </a:cubicBezTo>
                  <a:cubicBezTo>
                    <a:pt x="966988" y="61044"/>
                    <a:pt x="959037" y="57336"/>
                    <a:pt x="949267" y="57336"/>
                  </a:cubicBezTo>
                  <a:close/>
                  <a:moveTo>
                    <a:pt x="434917" y="57336"/>
                  </a:moveTo>
                  <a:cubicBezTo>
                    <a:pt x="426074" y="57336"/>
                    <a:pt x="418640" y="60296"/>
                    <a:pt x="412614" y="66215"/>
                  </a:cubicBezTo>
                  <a:cubicBezTo>
                    <a:pt x="406588" y="72134"/>
                    <a:pt x="403254" y="80050"/>
                    <a:pt x="402612" y="89962"/>
                  </a:cubicBezTo>
                  <a:lnTo>
                    <a:pt x="466045" y="89962"/>
                  </a:lnTo>
                  <a:cubicBezTo>
                    <a:pt x="465190" y="80406"/>
                    <a:pt x="462765" y="73239"/>
                    <a:pt x="458771" y="68461"/>
                  </a:cubicBezTo>
                  <a:cubicBezTo>
                    <a:pt x="452638" y="61044"/>
                    <a:pt x="444687" y="57336"/>
                    <a:pt x="434917" y="57336"/>
                  </a:cubicBezTo>
                  <a:close/>
                  <a:moveTo>
                    <a:pt x="206317" y="57336"/>
                  </a:moveTo>
                  <a:cubicBezTo>
                    <a:pt x="197474" y="57336"/>
                    <a:pt x="190040" y="60296"/>
                    <a:pt x="184014" y="66215"/>
                  </a:cubicBezTo>
                  <a:cubicBezTo>
                    <a:pt x="177988" y="72134"/>
                    <a:pt x="174654" y="80050"/>
                    <a:pt x="174012" y="89962"/>
                  </a:cubicBezTo>
                  <a:lnTo>
                    <a:pt x="237445" y="89962"/>
                  </a:lnTo>
                  <a:cubicBezTo>
                    <a:pt x="236590" y="80406"/>
                    <a:pt x="234165" y="73239"/>
                    <a:pt x="230171" y="68461"/>
                  </a:cubicBezTo>
                  <a:cubicBezTo>
                    <a:pt x="224039" y="61044"/>
                    <a:pt x="216087" y="57336"/>
                    <a:pt x="206317" y="57336"/>
                  </a:cubicBezTo>
                  <a:close/>
                  <a:moveTo>
                    <a:pt x="836786" y="56587"/>
                  </a:moveTo>
                  <a:cubicBezTo>
                    <a:pt x="828584" y="56587"/>
                    <a:pt x="821328" y="60420"/>
                    <a:pt x="815017" y="68087"/>
                  </a:cubicBezTo>
                  <a:cubicBezTo>
                    <a:pt x="808706" y="75753"/>
                    <a:pt x="805550" y="86896"/>
                    <a:pt x="805550" y="101515"/>
                  </a:cubicBezTo>
                  <a:cubicBezTo>
                    <a:pt x="805550" y="116134"/>
                    <a:pt x="808510" y="126938"/>
                    <a:pt x="814429" y="133927"/>
                  </a:cubicBezTo>
                  <a:cubicBezTo>
                    <a:pt x="820348" y="140916"/>
                    <a:pt x="827515" y="144410"/>
                    <a:pt x="835930" y="144410"/>
                  </a:cubicBezTo>
                  <a:cubicBezTo>
                    <a:pt x="844487" y="144410"/>
                    <a:pt x="851815" y="140791"/>
                    <a:pt x="857912" y="133552"/>
                  </a:cubicBezTo>
                  <a:cubicBezTo>
                    <a:pt x="864010" y="126314"/>
                    <a:pt x="867058" y="115100"/>
                    <a:pt x="867058" y="99910"/>
                  </a:cubicBezTo>
                  <a:cubicBezTo>
                    <a:pt x="867058" y="85434"/>
                    <a:pt x="864081" y="74594"/>
                    <a:pt x="858126" y="67391"/>
                  </a:cubicBezTo>
                  <a:cubicBezTo>
                    <a:pt x="852171" y="60189"/>
                    <a:pt x="845058" y="56587"/>
                    <a:pt x="836786" y="56587"/>
                  </a:cubicBezTo>
                  <a:close/>
                  <a:moveTo>
                    <a:pt x="722486" y="56587"/>
                  </a:moveTo>
                  <a:cubicBezTo>
                    <a:pt x="714285" y="56587"/>
                    <a:pt x="707028" y="60420"/>
                    <a:pt x="700717" y="68087"/>
                  </a:cubicBezTo>
                  <a:cubicBezTo>
                    <a:pt x="694406" y="75753"/>
                    <a:pt x="691250" y="86896"/>
                    <a:pt x="691250" y="101515"/>
                  </a:cubicBezTo>
                  <a:cubicBezTo>
                    <a:pt x="691250" y="116134"/>
                    <a:pt x="694210" y="126938"/>
                    <a:pt x="700129" y="133927"/>
                  </a:cubicBezTo>
                  <a:cubicBezTo>
                    <a:pt x="706048" y="140916"/>
                    <a:pt x="713215" y="144410"/>
                    <a:pt x="721630" y="144410"/>
                  </a:cubicBezTo>
                  <a:cubicBezTo>
                    <a:pt x="730187" y="144410"/>
                    <a:pt x="737515" y="140791"/>
                    <a:pt x="743612" y="133552"/>
                  </a:cubicBezTo>
                  <a:cubicBezTo>
                    <a:pt x="749710" y="126314"/>
                    <a:pt x="752758" y="115100"/>
                    <a:pt x="752758" y="99910"/>
                  </a:cubicBezTo>
                  <a:cubicBezTo>
                    <a:pt x="752758" y="85434"/>
                    <a:pt x="749781" y="74594"/>
                    <a:pt x="743826" y="67391"/>
                  </a:cubicBezTo>
                  <a:cubicBezTo>
                    <a:pt x="737871" y="60189"/>
                    <a:pt x="730758" y="56587"/>
                    <a:pt x="722486" y="56587"/>
                  </a:cubicBezTo>
                  <a:close/>
                  <a:moveTo>
                    <a:pt x="1683036" y="44072"/>
                  </a:moveTo>
                  <a:lnTo>
                    <a:pt x="1702291" y="44072"/>
                  </a:lnTo>
                  <a:lnTo>
                    <a:pt x="1702291" y="107077"/>
                  </a:lnTo>
                  <a:cubicBezTo>
                    <a:pt x="1702291" y="117133"/>
                    <a:pt x="1702683" y="123907"/>
                    <a:pt x="1703468" y="127402"/>
                  </a:cubicBezTo>
                  <a:cubicBezTo>
                    <a:pt x="1704680" y="132465"/>
                    <a:pt x="1707247" y="136441"/>
                    <a:pt x="1711169" y="139329"/>
                  </a:cubicBezTo>
                  <a:cubicBezTo>
                    <a:pt x="1715092" y="142217"/>
                    <a:pt x="1719941" y="143661"/>
                    <a:pt x="1725717" y="143661"/>
                  </a:cubicBezTo>
                  <a:cubicBezTo>
                    <a:pt x="1731494" y="143661"/>
                    <a:pt x="1736914" y="142181"/>
                    <a:pt x="1741977" y="139222"/>
                  </a:cubicBezTo>
                  <a:cubicBezTo>
                    <a:pt x="1747040" y="136262"/>
                    <a:pt x="1750624" y="132233"/>
                    <a:pt x="1752727" y="127134"/>
                  </a:cubicBezTo>
                  <a:cubicBezTo>
                    <a:pt x="1754831" y="122035"/>
                    <a:pt x="1755883" y="114637"/>
                    <a:pt x="1755883" y="104938"/>
                  </a:cubicBezTo>
                  <a:lnTo>
                    <a:pt x="1755883" y="44072"/>
                  </a:lnTo>
                  <a:lnTo>
                    <a:pt x="1775138" y="44072"/>
                  </a:lnTo>
                  <a:lnTo>
                    <a:pt x="1775138" y="157674"/>
                  </a:lnTo>
                  <a:lnTo>
                    <a:pt x="1757915" y="157674"/>
                  </a:lnTo>
                  <a:lnTo>
                    <a:pt x="1757915" y="140987"/>
                  </a:lnTo>
                  <a:cubicBezTo>
                    <a:pt x="1749073" y="153823"/>
                    <a:pt x="1737056" y="160242"/>
                    <a:pt x="1721866" y="160242"/>
                  </a:cubicBezTo>
                  <a:cubicBezTo>
                    <a:pt x="1715163" y="160242"/>
                    <a:pt x="1708905" y="158958"/>
                    <a:pt x="1703093" y="156391"/>
                  </a:cubicBezTo>
                  <a:cubicBezTo>
                    <a:pt x="1697281" y="153823"/>
                    <a:pt x="1692967" y="150596"/>
                    <a:pt x="1690150" y="146710"/>
                  </a:cubicBezTo>
                  <a:cubicBezTo>
                    <a:pt x="1687333" y="142823"/>
                    <a:pt x="1685354" y="138063"/>
                    <a:pt x="1684213" y="132429"/>
                  </a:cubicBezTo>
                  <a:cubicBezTo>
                    <a:pt x="1683429" y="128650"/>
                    <a:pt x="1683036" y="122659"/>
                    <a:pt x="1683036" y="114458"/>
                  </a:cubicBezTo>
                  <a:close/>
                  <a:moveTo>
                    <a:pt x="271629" y="44072"/>
                  </a:moveTo>
                  <a:lnTo>
                    <a:pt x="291954" y="44072"/>
                  </a:lnTo>
                  <a:lnTo>
                    <a:pt x="316343" y="112105"/>
                  </a:lnTo>
                  <a:cubicBezTo>
                    <a:pt x="318981" y="119450"/>
                    <a:pt x="321406" y="127081"/>
                    <a:pt x="323617" y="134997"/>
                  </a:cubicBezTo>
                  <a:cubicBezTo>
                    <a:pt x="325328" y="129006"/>
                    <a:pt x="327717" y="121804"/>
                    <a:pt x="330784" y="113389"/>
                  </a:cubicBezTo>
                  <a:lnTo>
                    <a:pt x="356029" y="44072"/>
                  </a:lnTo>
                  <a:lnTo>
                    <a:pt x="375818" y="44072"/>
                  </a:lnTo>
                  <a:lnTo>
                    <a:pt x="332816" y="157674"/>
                  </a:lnTo>
                  <a:lnTo>
                    <a:pt x="314845" y="157674"/>
                  </a:lnTo>
                  <a:close/>
                  <a:moveTo>
                    <a:pt x="1374999" y="41505"/>
                  </a:moveTo>
                  <a:cubicBezTo>
                    <a:pt x="1381845" y="41505"/>
                    <a:pt x="1388139" y="42735"/>
                    <a:pt x="1393880" y="45195"/>
                  </a:cubicBezTo>
                  <a:cubicBezTo>
                    <a:pt x="1399620" y="47655"/>
                    <a:pt x="1403917" y="50882"/>
                    <a:pt x="1406769" y="54876"/>
                  </a:cubicBezTo>
                  <a:cubicBezTo>
                    <a:pt x="1409622" y="58869"/>
                    <a:pt x="1411619" y="63612"/>
                    <a:pt x="1412760" y="69103"/>
                  </a:cubicBezTo>
                  <a:cubicBezTo>
                    <a:pt x="1413473" y="72669"/>
                    <a:pt x="1413829" y="78909"/>
                    <a:pt x="1413829" y="87823"/>
                  </a:cubicBezTo>
                  <a:lnTo>
                    <a:pt x="1413829" y="157674"/>
                  </a:lnTo>
                  <a:lnTo>
                    <a:pt x="1394575" y="157674"/>
                  </a:lnTo>
                  <a:lnTo>
                    <a:pt x="1394575" y="88571"/>
                  </a:lnTo>
                  <a:cubicBezTo>
                    <a:pt x="1394575" y="80727"/>
                    <a:pt x="1393826" y="74861"/>
                    <a:pt x="1392328" y="70975"/>
                  </a:cubicBezTo>
                  <a:cubicBezTo>
                    <a:pt x="1390831" y="67088"/>
                    <a:pt x="1388174" y="63986"/>
                    <a:pt x="1384359" y="61668"/>
                  </a:cubicBezTo>
                  <a:cubicBezTo>
                    <a:pt x="1380544" y="59351"/>
                    <a:pt x="1376069" y="58192"/>
                    <a:pt x="1370934" y="58192"/>
                  </a:cubicBezTo>
                  <a:cubicBezTo>
                    <a:pt x="1362733" y="58192"/>
                    <a:pt x="1355656" y="60795"/>
                    <a:pt x="1349701" y="66001"/>
                  </a:cubicBezTo>
                  <a:cubicBezTo>
                    <a:pt x="1343746" y="71207"/>
                    <a:pt x="1340769" y="81084"/>
                    <a:pt x="1340769" y="95632"/>
                  </a:cubicBezTo>
                  <a:lnTo>
                    <a:pt x="1340769" y="157674"/>
                  </a:lnTo>
                  <a:lnTo>
                    <a:pt x="1321514" y="157674"/>
                  </a:lnTo>
                  <a:lnTo>
                    <a:pt x="1321514" y="44072"/>
                  </a:lnTo>
                  <a:lnTo>
                    <a:pt x="1338843" y="44072"/>
                  </a:lnTo>
                  <a:lnTo>
                    <a:pt x="1338843" y="60224"/>
                  </a:lnTo>
                  <a:cubicBezTo>
                    <a:pt x="1347187" y="47745"/>
                    <a:pt x="1359239" y="41505"/>
                    <a:pt x="1374999" y="41505"/>
                  </a:cubicBezTo>
                  <a:close/>
                  <a:moveTo>
                    <a:pt x="1244328" y="41505"/>
                  </a:moveTo>
                  <a:cubicBezTo>
                    <a:pt x="1259518" y="41505"/>
                    <a:pt x="1271926" y="46675"/>
                    <a:pt x="1281554" y="57015"/>
                  </a:cubicBezTo>
                  <a:cubicBezTo>
                    <a:pt x="1291181" y="67356"/>
                    <a:pt x="1295995" y="81904"/>
                    <a:pt x="1295995" y="100659"/>
                  </a:cubicBezTo>
                  <a:cubicBezTo>
                    <a:pt x="1295995" y="101800"/>
                    <a:pt x="1295959" y="103512"/>
                    <a:pt x="1295888" y="105794"/>
                  </a:cubicBezTo>
                  <a:lnTo>
                    <a:pt x="1211167" y="105794"/>
                  </a:lnTo>
                  <a:cubicBezTo>
                    <a:pt x="1211880" y="118274"/>
                    <a:pt x="1215410" y="127830"/>
                    <a:pt x="1221757" y="134462"/>
                  </a:cubicBezTo>
                  <a:cubicBezTo>
                    <a:pt x="1228104" y="141094"/>
                    <a:pt x="1236020" y="144410"/>
                    <a:pt x="1245505" y="144410"/>
                  </a:cubicBezTo>
                  <a:cubicBezTo>
                    <a:pt x="1252565" y="144410"/>
                    <a:pt x="1258591" y="142556"/>
                    <a:pt x="1263583" y="138847"/>
                  </a:cubicBezTo>
                  <a:cubicBezTo>
                    <a:pt x="1268575" y="135139"/>
                    <a:pt x="1272533" y="129220"/>
                    <a:pt x="1275457" y="121090"/>
                  </a:cubicBezTo>
                  <a:lnTo>
                    <a:pt x="1295353" y="123551"/>
                  </a:lnTo>
                  <a:cubicBezTo>
                    <a:pt x="1292215" y="135175"/>
                    <a:pt x="1286403" y="144196"/>
                    <a:pt x="1277917" y="150614"/>
                  </a:cubicBezTo>
                  <a:cubicBezTo>
                    <a:pt x="1269430" y="157032"/>
                    <a:pt x="1258591" y="160242"/>
                    <a:pt x="1245398" y="160242"/>
                  </a:cubicBezTo>
                  <a:cubicBezTo>
                    <a:pt x="1228782" y="160242"/>
                    <a:pt x="1215607" y="155125"/>
                    <a:pt x="1205872" y="144891"/>
                  </a:cubicBezTo>
                  <a:cubicBezTo>
                    <a:pt x="1196138" y="134658"/>
                    <a:pt x="1191271" y="120306"/>
                    <a:pt x="1191271" y="101836"/>
                  </a:cubicBezTo>
                  <a:cubicBezTo>
                    <a:pt x="1191271" y="82724"/>
                    <a:pt x="1196192" y="67891"/>
                    <a:pt x="1206033" y="57336"/>
                  </a:cubicBezTo>
                  <a:cubicBezTo>
                    <a:pt x="1215874" y="46782"/>
                    <a:pt x="1228639" y="41505"/>
                    <a:pt x="1244328" y="41505"/>
                  </a:cubicBezTo>
                  <a:close/>
                  <a:moveTo>
                    <a:pt x="1077906" y="41505"/>
                  </a:moveTo>
                  <a:cubicBezTo>
                    <a:pt x="1086321" y="41505"/>
                    <a:pt x="1093220" y="43252"/>
                    <a:pt x="1098605" y="46746"/>
                  </a:cubicBezTo>
                  <a:cubicBezTo>
                    <a:pt x="1103989" y="50240"/>
                    <a:pt x="1107786" y="55125"/>
                    <a:pt x="1109997" y="61401"/>
                  </a:cubicBezTo>
                  <a:cubicBezTo>
                    <a:pt x="1118982" y="48137"/>
                    <a:pt x="1130678" y="41505"/>
                    <a:pt x="1145083" y="41505"/>
                  </a:cubicBezTo>
                  <a:cubicBezTo>
                    <a:pt x="1156351" y="41505"/>
                    <a:pt x="1165015" y="44625"/>
                    <a:pt x="1171077" y="50864"/>
                  </a:cubicBezTo>
                  <a:cubicBezTo>
                    <a:pt x="1177138" y="57104"/>
                    <a:pt x="1180169" y="66714"/>
                    <a:pt x="1180169" y="79693"/>
                  </a:cubicBezTo>
                  <a:lnTo>
                    <a:pt x="1180169" y="157674"/>
                  </a:lnTo>
                  <a:lnTo>
                    <a:pt x="1161022" y="157674"/>
                  </a:lnTo>
                  <a:lnTo>
                    <a:pt x="1161022" y="86111"/>
                  </a:lnTo>
                  <a:cubicBezTo>
                    <a:pt x="1161022" y="78409"/>
                    <a:pt x="1160398" y="72865"/>
                    <a:pt x="1159150" y="69477"/>
                  </a:cubicBezTo>
                  <a:cubicBezTo>
                    <a:pt x="1157902" y="66090"/>
                    <a:pt x="1155637" y="63362"/>
                    <a:pt x="1152357" y="61294"/>
                  </a:cubicBezTo>
                  <a:cubicBezTo>
                    <a:pt x="1149077" y="59226"/>
                    <a:pt x="1145226" y="58192"/>
                    <a:pt x="1140804" y="58192"/>
                  </a:cubicBezTo>
                  <a:cubicBezTo>
                    <a:pt x="1132817" y="58192"/>
                    <a:pt x="1126185" y="60848"/>
                    <a:pt x="1120908" y="66161"/>
                  </a:cubicBezTo>
                  <a:cubicBezTo>
                    <a:pt x="1115631" y="71474"/>
                    <a:pt x="1112992" y="79978"/>
                    <a:pt x="1112992" y="91674"/>
                  </a:cubicBezTo>
                  <a:lnTo>
                    <a:pt x="1112992" y="157674"/>
                  </a:lnTo>
                  <a:lnTo>
                    <a:pt x="1093737" y="157674"/>
                  </a:lnTo>
                  <a:lnTo>
                    <a:pt x="1093737" y="83865"/>
                  </a:lnTo>
                  <a:cubicBezTo>
                    <a:pt x="1093737" y="75307"/>
                    <a:pt x="1092168" y="68889"/>
                    <a:pt x="1089031" y="64610"/>
                  </a:cubicBezTo>
                  <a:cubicBezTo>
                    <a:pt x="1085893" y="60331"/>
                    <a:pt x="1080758" y="58192"/>
                    <a:pt x="1073627" y="58192"/>
                  </a:cubicBezTo>
                  <a:cubicBezTo>
                    <a:pt x="1068207" y="58192"/>
                    <a:pt x="1063197" y="59618"/>
                    <a:pt x="1058598" y="62471"/>
                  </a:cubicBezTo>
                  <a:cubicBezTo>
                    <a:pt x="1053998" y="65323"/>
                    <a:pt x="1050664" y="69495"/>
                    <a:pt x="1048596" y="74986"/>
                  </a:cubicBezTo>
                  <a:cubicBezTo>
                    <a:pt x="1046528" y="80477"/>
                    <a:pt x="1045494" y="88393"/>
                    <a:pt x="1045494" y="98734"/>
                  </a:cubicBezTo>
                  <a:lnTo>
                    <a:pt x="1045494" y="157674"/>
                  </a:lnTo>
                  <a:lnTo>
                    <a:pt x="1026239" y="157674"/>
                  </a:lnTo>
                  <a:lnTo>
                    <a:pt x="1026239" y="44072"/>
                  </a:lnTo>
                  <a:lnTo>
                    <a:pt x="1043461" y="44072"/>
                  </a:lnTo>
                  <a:lnTo>
                    <a:pt x="1043461" y="60010"/>
                  </a:lnTo>
                  <a:cubicBezTo>
                    <a:pt x="1047027" y="54448"/>
                    <a:pt x="1051769" y="49973"/>
                    <a:pt x="1057688" y="46586"/>
                  </a:cubicBezTo>
                  <a:cubicBezTo>
                    <a:pt x="1063607" y="43198"/>
                    <a:pt x="1070347" y="41505"/>
                    <a:pt x="1077906" y="41505"/>
                  </a:cubicBezTo>
                  <a:close/>
                  <a:moveTo>
                    <a:pt x="949053" y="41505"/>
                  </a:moveTo>
                  <a:cubicBezTo>
                    <a:pt x="964243" y="41505"/>
                    <a:pt x="976652" y="46675"/>
                    <a:pt x="986279" y="57015"/>
                  </a:cubicBezTo>
                  <a:cubicBezTo>
                    <a:pt x="995906" y="67356"/>
                    <a:pt x="1000720" y="81904"/>
                    <a:pt x="1000720" y="100659"/>
                  </a:cubicBezTo>
                  <a:cubicBezTo>
                    <a:pt x="1000720" y="101800"/>
                    <a:pt x="1000684" y="103512"/>
                    <a:pt x="1000613" y="105794"/>
                  </a:cubicBezTo>
                  <a:lnTo>
                    <a:pt x="915892" y="105794"/>
                  </a:lnTo>
                  <a:cubicBezTo>
                    <a:pt x="916605" y="118274"/>
                    <a:pt x="920136" y="127830"/>
                    <a:pt x="926483" y="134462"/>
                  </a:cubicBezTo>
                  <a:cubicBezTo>
                    <a:pt x="932829" y="141094"/>
                    <a:pt x="940745" y="144410"/>
                    <a:pt x="950230" y="144410"/>
                  </a:cubicBezTo>
                  <a:cubicBezTo>
                    <a:pt x="957290" y="144410"/>
                    <a:pt x="963316" y="142556"/>
                    <a:pt x="968308" y="138847"/>
                  </a:cubicBezTo>
                  <a:cubicBezTo>
                    <a:pt x="973300" y="135139"/>
                    <a:pt x="977258" y="129220"/>
                    <a:pt x="980182" y="121090"/>
                  </a:cubicBezTo>
                  <a:lnTo>
                    <a:pt x="1000078" y="123551"/>
                  </a:lnTo>
                  <a:cubicBezTo>
                    <a:pt x="996940" y="135175"/>
                    <a:pt x="991128" y="144196"/>
                    <a:pt x="982642" y="150614"/>
                  </a:cubicBezTo>
                  <a:cubicBezTo>
                    <a:pt x="974155" y="157032"/>
                    <a:pt x="963316" y="160242"/>
                    <a:pt x="950123" y="160242"/>
                  </a:cubicBezTo>
                  <a:cubicBezTo>
                    <a:pt x="933507" y="160242"/>
                    <a:pt x="920332" y="155125"/>
                    <a:pt x="910597" y="144891"/>
                  </a:cubicBezTo>
                  <a:cubicBezTo>
                    <a:pt x="900863" y="134658"/>
                    <a:pt x="895996" y="120306"/>
                    <a:pt x="895996" y="101836"/>
                  </a:cubicBezTo>
                  <a:cubicBezTo>
                    <a:pt x="895996" y="82724"/>
                    <a:pt x="900917" y="67891"/>
                    <a:pt x="910758" y="57336"/>
                  </a:cubicBezTo>
                  <a:cubicBezTo>
                    <a:pt x="920599" y="46782"/>
                    <a:pt x="933364" y="41505"/>
                    <a:pt x="949053" y="41505"/>
                  </a:cubicBezTo>
                  <a:close/>
                  <a:moveTo>
                    <a:pt x="838604" y="41505"/>
                  </a:moveTo>
                  <a:cubicBezTo>
                    <a:pt x="848303" y="41505"/>
                    <a:pt x="856860" y="44001"/>
                    <a:pt x="864277" y="48993"/>
                  </a:cubicBezTo>
                  <a:cubicBezTo>
                    <a:pt x="871694" y="53984"/>
                    <a:pt x="877292" y="61027"/>
                    <a:pt x="881071" y="70119"/>
                  </a:cubicBezTo>
                  <a:cubicBezTo>
                    <a:pt x="884851" y="79212"/>
                    <a:pt x="886741" y="89178"/>
                    <a:pt x="886741" y="100017"/>
                  </a:cubicBezTo>
                  <a:cubicBezTo>
                    <a:pt x="886741" y="111641"/>
                    <a:pt x="884655" y="122107"/>
                    <a:pt x="880483" y="131413"/>
                  </a:cubicBezTo>
                  <a:cubicBezTo>
                    <a:pt x="876311" y="140719"/>
                    <a:pt x="870249" y="147851"/>
                    <a:pt x="862298" y="152807"/>
                  </a:cubicBezTo>
                  <a:cubicBezTo>
                    <a:pt x="854347" y="157763"/>
                    <a:pt x="845985" y="160242"/>
                    <a:pt x="837214" y="160242"/>
                  </a:cubicBezTo>
                  <a:cubicBezTo>
                    <a:pt x="830795" y="160242"/>
                    <a:pt x="825037" y="158887"/>
                    <a:pt x="819938" y="156177"/>
                  </a:cubicBezTo>
                  <a:cubicBezTo>
                    <a:pt x="814839" y="153467"/>
                    <a:pt x="810649" y="150044"/>
                    <a:pt x="807369" y="145908"/>
                  </a:cubicBezTo>
                  <a:lnTo>
                    <a:pt x="807369" y="201211"/>
                  </a:lnTo>
                  <a:lnTo>
                    <a:pt x="788114" y="201211"/>
                  </a:lnTo>
                  <a:lnTo>
                    <a:pt x="788114" y="44072"/>
                  </a:lnTo>
                  <a:lnTo>
                    <a:pt x="805657" y="44072"/>
                  </a:lnTo>
                  <a:lnTo>
                    <a:pt x="805657" y="58834"/>
                  </a:lnTo>
                  <a:cubicBezTo>
                    <a:pt x="809793" y="53057"/>
                    <a:pt x="814464" y="48725"/>
                    <a:pt x="819670" y="45837"/>
                  </a:cubicBezTo>
                  <a:cubicBezTo>
                    <a:pt x="824876" y="42949"/>
                    <a:pt x="831187" y="41505"/>
                    <a:pt x="838604" y="41505"/>
                  </a:cubicBezTo>
                  <a:close/>
                  <a:moveTo>
                    <a:pt x="724304" y="41505"/>
                  </a:moveTo>
                  <a:cubicBezTo>
                    <a:pt x="734003" y="41505"/>
                    <a:pt x="742560" y="44001"/>
                    <a:pt x="749977" y="48993"/>
                  </a:cubicBezTo>
                  <a:cubicBezTo>
                    <a:pt x="757394" y="53984"/>
                    <a:pt x="762992" y="61027"/>
                    <a:pt x="766771" y="70119"/>
                  </a:cubicBezTo>
                  <a:cubicBezTo>
                    <a:pt x="770551" y="79212"/>
                    <a:pt x="772441" y="89178"/>
                    <a:pt x="772441" y="100017"/>
                  </a:cubicBezTo>
                  <a:cubicBezTo>
                    <a:pt x="772441" y="111641"/>
                    <a:pt x="770355" y="122107"/>
                    <a:pt x="766183" y="131413"/>
                  </a:cubicBezTo>
                  <a:cubicBezTo>
                    <a:pt x="762011" y="140719"/>
                    <a:pt x="755949" y="147851"/>
                    <a:pt x="747998" y="152807"/>
                  </a:cubicBezTo>
                  <a:cubicBezTo>
                    <a:pt x="740047" y="157763"/>
                    <a:pt x="731685" y="160242"/>
                    <a:pt x="722913" y="160242"/>
                  </a:cubicBezTo>
                  <a:cubicBezTo>
                    <a:pt x="716495" y="160242"/>
                    <a:pt x="710737" y="158887"/>
                    <a:pt x="705638" y="156177"/>
                  </a:cubicBezTo>
                  <a:cubicBezTo>
                    <a:pt x="700539" y="153467"/>
                    <a:pt x="696349" y="150044"/>
                    <a:pt x="693069" y="145908"/>
                  </a:cubicBezTo>
                  <a:lnTo>
                    <a:pt x="693069" y="201211"/>
                  </a:lnTo>
                  <a:lnTo>
                    <a:pt x="673814" y="201211"/>
                  </a:lnTo>
                  <a:lnTo>
                    <a:pt x="673814" y="44072"/>
                  </a:lnTo>
                  <a:lnTo>
                    <a:pt x="691357" y="44072"/>
                  </a:lnTo>
                  <a:lnTo>
                    <a:pt x="691357" y="58834"/>
                  </a:lnTo>
                  <a:cubicBezTo>
                    <a:pt x="695493" y="53057"/>
                    <a:pt x="700164" y="48725"/>
                    <a:pt x="705370" y="45837"/>
                  </a:cubicBezTo>
                  <a:cubicBezTo>
                    <a:pt x="710576" y="42949"/>
                    <a:pt x="716888" y="41505"/>
                    <a:pt x="724304" y="41505"/>
                  </a:cubicBezTo>
                  <a:close/>
                  <a:moveTo>
                    <a:pt x="596093" y="41505"/>
                  </a:moveTo>
                  <a:cubicBezTo>
                    <a:pt x="611711" y="41505"/>
                    <a:pt x="624476" y="46621"/>
                    <a:pt x="634389" y="56855"/>
                  </a:cubicBezTo>
                  <a:cubicBezTo>
                    <a:pt x="644301" y="67088"/>
                    <a:pt x="649257" y="81226"/>
                    <a:pt x="649257" y="99269"/>
                  </a:cubicBezTo>
                  <a:cubicBezTo>
                    <a:pt x="649257" y="113888"/>
                    <a:pt x="647065" y="125387"/>
                    <a:pt x="642679" y="133766"/>
                  </a:cubicBezTo>
                  <a:cubicBezTo>
                    <a:pt x="638293" y="142146"/>
                    <a:pt x="631911" y="148653"/>
                    <a:pt x="623531" y="153288"/>
                  </a:cubicBezTo>
                  <a:cubicBezTo>
                    <a:pt x="615152" y="157924"/>
                    <a:pt x="606006" y="160242"/>
                    <a:pt x="596093" y="160242"/>
                  </a:cubicBezTo>
                  <a:cubicBezTo>
                    <a:pt x="580190" y="160242"/>
                    <a:pt x="567336" y="155143"/>
                    <a:pt x="557531" y="144945"/>
                  </a:cubicBezTo>
                  <a:cubicBezTo>
                    <a:pt x="547725" y="134747"/>
                    <a:pt x="542822" y="120056"/>
                    <a:pt x="542822" y="100873"/>
                  </a:cubicBezTo>
                  <a:cubicBezTo>
                    <a:pt x="542822" y="79836"/>
                    <a:pt x="548670" y="64254"/>
                    <a:pt x="560365" y="54127"/>
                  </a:cubicBezTo>
                  <a:cubicBezTo>
                    <a:pt x="570135" y="45712"/>
                    <a:pt x="582045" y="41505"/>
                    <a:pt x="596093" y="41505"/>
                  </a:cubicBezTo>
                  <a:close/>
                  <a:moveTo>
                    <a:pt x="434703" y="41505"/>
                  </a:moveTo>
                  <a:cubicBezTo>
                    <a:pt x="449893" y="41505"/>
                    <a:pt x="462301" y="46675"/>
                    <a:pt x="471929" y="57015"/>
                  </a:cubicBezTo>
                  <a:cubicBezTo>
                    <a:pt x="481556" y="67356"/>
                    <a:pt x="486370" y="81904"/>
                    <a:pt x="486370" y="100659"/>
                  </a:cubicBezTo>
                  <a:cubicBezTo>
                    <a:pt x="486370" y="101800"/>
                    <a:pt x="486334" y="103512"/>
                    <a:pt x="486263" y="105794"/>
                  </a:cubicBezTo>
                  <a:lnTo>
                    <a:pt x="401542" y="105794"/>
                  </a:lnTo>
                  <a:cubicBezTo>
                    <a:pt x="402255" y="118274"/>
                    <a:pt x="405785" y="127830"/>
                    <a:pt x="412132" y="134462"/>
                  </a:cubicBezTo>
                  <a:cubicBezTo>
                    <a:pt x="418479" y="141094"/>
                    <a:pt x="426395" y="144410"/>
                    <a:pt x="435880" y="144410"/>
                  </a:cubicBezTo>
                  <a:cubicBezTo>
                    <a:pt x="442940" y="144410"/>
                    <a:pt x="448966" y="142556"/>
                    <a:pt x="453958" y="138847"/>
                  </a:cubicBezTo>
                  <a:cubicBezTo>
                    <a:pt x="458950" y="135139"/>
                    <a:pt x="462908" y="129220"/>
                    <a:pt x="465832" y="121090"/>
                  </a:cubicBezTo>
                  <a:lnTo>
                    <a:pt x="485728" y="123551"/>
                  </a:lnTo>
                  <a:cubicBezTo>
                    <a:pt x="482590" y="135175"/>
                    <a:pt x="476778" y="144196"/>
                    <a:pt x="468292" y="150614"/>
                  </a:cubicBezTo>
                  <a:cubicBezTo>
                    <a:pt x="459805" y="157032"/>
                    <a:pt x="448966" y="160242"/>
                    <a:pt x="435773" y="160242"/>
                  </a:cubicBezTo>
                  <a:cubicBezTo>
                    <a:pt x="419157" y="160242"/>
                    <a:pt x="405982" y="155125"/>
                    <a:pt x="396247" y="144891"/>
                  </a:cubicBezTo>
                  <a:cubicBezTo>
                    <a:pt x="386513" y="134658"/>
                    <a:pt x="381646" y="120306"/>
                    <a:pt x="381646" y="101836"/>
                  </a:cubicBezTo>
                  <a:cubicBezTo>
                    <a:pt x="381646" y="82724"/>
                    <a:pt x="386567" y="67891"/>
                    <a:pt x="396408" y="57336"/>
                  </a:cubicBezTo>
                  <a:cubicBezTo>
                    <a:pt x="406249" y="46782"/>
                    <a:pt x="419014" y="41505"/>
                    <a:pt x="434703" y="41505"/>
                  </a:cubicBezTo>
                  <a:close/>
                  <a:moveTo>
                    <a:pt x="206103" y="41505"/>
                  </a:moveTo>
                  <a:cubicBezTo>
                    <a:pt x="221293" y="41505"/>
                    <a:pt x="233701" y="46675"/>
                    <a:pt x="243329" y="57015"/>
                  </a:cubicBezTo>
                  <a:cubicBezTo>
                    <a:pt x="252956" y="67356"/>
                    <a:pt x="257770" y="81904"/>
                    <a:pt x="257770" y="100659"/>
                  </a:cubicBezTo>
                  <a:cubicBezTo>
                    <a:pt x="257770" y="101800"/>
                    <a:pt x="257734" y="103512"/>
                    <a:pt x="257663" y="105794"/>
                  </a:cubicBezTo>
                  <a:lnTo>
                    <a:pt x="172942" y="105794"/>
                  </a:lnTo>
                  <a:cubicBezTo>
                    <a:pt x="173656" y="118274"/>
                    <a:pt x="177186" y="127830"/>
                    <a:pt x="183532" y="134462"/>
                  </a:cubicBezTo>
                  <a:cubicBezTo>
                    <a:pt x="189879" y="141094"/>
                    <a:pt x="197795" y="144410"/>
                    <a:pt x="207280" y="144410"/>
                  </a:cubicBezTo>
                  <a:cubicBezTo>
                    <a:pt x="214340" y="144410"/>
                    <a:pt x="220366" y="142556"/>
                    <a:pt x="225358" y="138847"/>
                  </a:cubicBezTo>
                  <a:cubicBezTo>
                    <a:pt x="230350" y="135139"/>
                    <a:pt x="234308" y="129220"/>
                    <a:pt x="237232" y="121090"/>
                  </a:cubicBezTo>
                  <a:lnTo>
                    <a:pt x="257128" y="123551"/>
                  </a:lnTo>
                  <a:cubicBezTo>
                    <a:pt x="253990" y="135175"/>
                    <a:pt x="248178" y="144196"/>
                    <a:pt x="239692" y="150614"/>
                  </a:cubicBezTo>
                  <a:cubicBezTo>
                    <a:pt x="231205" y="157032"/>
                    <a:pt x="220366" y="160242"/>
                    <a:pt x="207173" y="160242"/>
                  </a:cubicBezTo>
                  <a:cubicBezTo>
                    <a:pt x="190557" y="160242"/>
                    <a:pt x="177382" y="155125"/>
                    <a:pt x="167647" y="144891"/>
                  </a:cubicBezTo>
                  <a:cubicBezTo>
                    <a:pt x="157913" y="134658"/>
                    <a:pt x="153046" y="120306"/>
                    <a:pt x="153046" y="101836"/>
                  </a:cubicBezTo>
                  <a:cubicBezTo>
                    <a:pt x="153046" y="82724"/>
                    <a:pt x="157967" y="67891"/>
                    <a:pt x="167808" y="57336"/>
                  </a:cubicBezTo>
                  <a:cubicBezTo>
                    <a:pt x="177649" y="46782"/>
                    <a:pt x="190414" y="41505"/>
                    <a:pt x="206103" y="41505"/>
                  </a:cubicBezTo>
                  <a:close/>
                  <a:moveTo>
                    <a:pt x="20752" y="19362"/>
                  </a:moveTo>
                  <a:lnTo>
                    <a:pt x="20752" y="139168"/>
                  </a:lnTo>
                  <a:lnTo>
                    <a:pt x="54233" y="139168"/>
                  </a:lnTo>
                  <a:cubicBezTo>
                    <a:pt x="64574" y="139168"/>
                    <a:pt x="72686" y="138206"/>
                    <a:pt x="78569" y="136280"/>
                  </a:cubicBezTo>
                  <a:cubicBezTo>
                    <a:pt x="84452" y="134355"/>
                    <a:pt x="89141" y="131645"/>
                    <a:pt x="92636" y="128150"/>
                  </a:cubicBezTo>
                  <a:cubicBezTo>
                    <a:pt x="97556" y="123230"/>
                    <a:pt x="101389" y="116616"/>
                    <a:pt x="104135" y="108307"/>
                  </a:cubicBezTo>
                  <a:cubicBezTo>
                    <a:pt x="106881" y="99999"/>
                    <a:pt x="108253" y="89926"/>
                    <a:pt x="108253" y="78088"/>
                  </a:cubicBezTo>
                  <a:cubicBezTo>
                    <a:pt x="108253" y="61686"/>
                    <a:pt x="105561" y="49082"/>
                    <a:pt x="100177" y="40274"/>
                  </a:cubicBezTo>
                  <a:cubicBezTo>
                    <a:pt x="94793" y="31467"/>
                    <a:pt x="88250" y="25566"/>
                    <a:pt x="80548" y="22571"/>
                  </a:cubicBezTo>
                  <a:cubicBezTo>
                    <a:pt x="74986" y="20431"/>
                    <a:pt x="66036" y="19362"/>
                    <a:pt x="53698" y="19362"/>
                  </a:cubicBezTo>
                  <a:close/>
                  <a:moveTo>
                    <a:pt x="1458492" y="4386"/>
                  </a:moveTo>
                  <a:lnTo>
                    <a:pt x="1458492" y="44072"/>
                  </a:lnTo>
                  <a:lnTo>
                    <a:pt x="1477853" y="44072"/>
                  </a:lnTo>
                  <a:lnTo>
                    <a:pt x="1477853" y="59048"/>
                  </a:lnTo>
                  <a:lnTo>
                    <a:pt x="1458492" y="59048"/>
                  </a:lnTo>
                  <a:lnTo>
                    <a:pt x="1458492" y="125476"/>
                  </a:lnTo>
                  <a:cubicBezTo>
                    <a:pt x="1458492" y="130967"/>
                    <a:pt x="1458830" y="134497"/>
                    <a:pt x="1459508" y="136066"/>
                  </a:cubicBezTo>
                  <a:cubicBezTo>
                    <a:pt x="1460185" y="137635"/>
                    <a:pt x="1461291" y="138883"/>
                    <a:pt x="1462824" y="139810"/>
                  </a:cubicBezTo>
                  <a:cubicBezTo>
                    <a:pt x="1464357" y="140737"/>
                    <a:pt x="1466550" y="141201"/>
                    <a:pt x="1469403" y="141201"/>
                  </a:cubicBezTo>
                  <a:cubicBezTo>
                    <a:pt x="1471542" y="141201"/>
                    <a:pt x="1474359" y="140951"/>
                    <a:pt x="1477853" y="140452"/>
                  </a:cubicBezTo>
                  <a:lnTo>
                    <a:pt x="1480635" y="157460"/>
                  </a:lnTo>
                  <a:cubicBezTo>
                    <a:pt x="1475215" y="158601"/>
                    <a:pt x="1470366" y="159172"/>
                    <a:pt x="1466087" y="159172"/>
                  </a:cubicBezTo>
                  <a:cubicBezTo>
                    <a:pt x="1459098" y="159172"/>
                    <a:pt x="1453678" y="158066"/>
                    <a:pt x="1449827" y="155856"/>
                  </a:cubicBezTo>
                  <a:cubicBezTo>
                    <a:pt x="1445976" y="153645"/>
                    <a:pt x="1443266" y="150739"/>
                    <a:pt x="1441698" y="147138"/>
                  </a:cubicBezTo>
                  <a:cubicBezTo>
                    <a:pt x="1440129" y="143536"/>
                    <a:pt x="1439344" y="135959"/>
                    <a:pt x="1439344" y="124407"/>
                  </a:cubicBezTo>
                  <a:lnTo>
                    <a:pt x="1439344" y="59048"/>
                  </a:lnTo>
                  <a:lnTo>
                    <a:pt x="1425224" y="59048"/>
                  </a:lnTo>
                  <a:lnTo>
                    <a:pt x="1425224" y="44072"/>
                  </a:lnTo>
                  <a:lnTo>
                    <a:pt x="1439344" y="44072"/>
                  </a:lnTo>
                  <a:lnTo>
                    <a:pt x="1439344" y="15939"/>
                  </a:lnTo>
                  <a:close/>
                  <a:moveTo>
                    <a:pt x="1641583" y="856"/>
                  </a:moveTo>
                  <a:lnTo>
                    <a:pt x="1660731" y="856"/>
                  </a:lnTo>
                  <a:lnTo>
                    <a:pt x="1660731" y="157674"/>
                  </a:lnTo>
                  <a:lnTo>
                    <a:pt x="1642867" y="157674"/>
                  </a:lnTo>
                  <a:lnTo>
                    <a:pt x="1642867" y="143340"/>
                  </a:lnTo>
                  <a:cubicBezTo>
                    <a:pt x="1635664" y="154608"/>
                    <a:pt x="1625074" y="160242"/>
                    <a:pt x="1611096" y="160242"/>
                  </a:cubicBezTo>
                  <a:cubicBezTo>
                    <a:pt x="1602040" y="160242"/>
                    <a:pt x="1593714" y="157746"/>
                    <a:pt x="1586119" y="152754"/>
                  </a:cubicBezTo>
                  <a:cubicBezTo>
                    <a:pt x="1578524" y="147762"/>
                    <a:pt x="1572641" y="140791"/>
                    <a:pt x="1568469" y="131841"/>
                  </a:cubicBezTo>
                  <a:cubicBezTo>
                    <a:pt x="1564297" y="122891"/>
                    <a:pt x="1562211" y="112604"/>
                    <a:pt x="1562211" y="100980"/>
                  </a:cubicBezTo>
                  <a:cubicBezTo>
                    <a:pt x="1562211" y="89641"/>
                    <a:pt x="1564101" y="79354"/>
                    <a:pt x="1567881" y="70119"/>
                  </a:cubicBezTo>
                  <a:cubicBezTo>
                    <a:pt x="1571660" y="60884"/>
                    <a:pt x="1577330" y="53806"/>
                    <a:pt x="1584889" y="48886"/>
                  </a:cubicBezTo>
                  <a:cubicBezTo>
                    <a:pt x="1592448" y="43965"/>
                    <a:pt x="1600899" y="41505"/>
                    <a:pt x="1610241" y="41505"/>
                  </a:cubicBezTo>
                  <a:cubicBezTo>
                    <a:pt x="1617087" y="41505"/>
                    <a:pt x="1623184" y="42949"/>
                    <a:pt x="1628533" y="45837"/>
                  </a:cubicBezTo>
                  <a:cubicBezTo>
                    <a:pt x="1633881" y="48725"/>
                    <a:pt x="1638231" y="52487"/>
                    <a:pt x="1641583" y="57122"/>
                  </a:cubicBezTo>
                  <a:close/>
                  <a:moveTo>
                    <a:pt x="511461" y="856"/>
                  </a:moveTo>
                  <a:lnTo>
                    <a:pt x="530716" y="856"/>
                  </a:lnTo>
                  <a:lnTo>
                    <a:pt x="530716" y="157674"/>
                  </a:lnTo>
                  <a:lnTo>
                    <a:pt x="511461" y="157674"/>
                  </a:lnTo>
                  <a:close/>
                  <a:moveTo>
                    <a:pt x="0" y="856"/>
                  </a:moveTo>
                  <a:lnTo>
                    <a:pt x="54019" y="856"/>
                  </a:lnTo>
                  <a:cubicBezTo>
                    <a:pt x="66214" y="856"/>
                    <a:pt x="75520" y="1605"/>
                    <a:pt x="81939" y="3102"/>
                  </a:cubicBezTo>
                  <a:cubicBezTo>
                    <a:pt x="90924" y="5170"/>
                    <a:pt x="98590" y="8914"/>
                    <a:pt x="104937" y="14334"/>
                  </a:cubicBezTo>
                  <a:cubicBezTo>
                    <a:pt x="113210" y="21323"/>
                    <a:pt x="119396" y="30255"/>
                    <a:pt x="123496" y="41130"/>
                  </a:cubicBezTo>
                  <a:cubicBezTo>
                    <a:pt x="127597" y="52006"/>
                    <a:pt x="129647" y="64432"/>
                    <a:pt x="129647" y="78409"/>
                  </a:cubicBezTo>
                  <a:cubicBezTo>
                    <a:pt x="129647" y="90319"/>
                    <a:pt x="128257" y="100873"/>
                    <a:pt x="125476" y="110072"/>
                  </a:cubicBezTo>
                  <a:cubicBezTo>
                    <a:pt x="122694" y="119272"/>
                    <a:pt x="119129" y="126885"/>
                    <a:pt x="114778" y="132911"/>
                  </a:cubicBezTo>
                  <a:cubicBezTo>
                    <a:pt x="110428" y="138937"/>
                    <a:pt x="105668" y="143679"/>
                    <a:pt x="100498" y="147138"/>
                  </a:cubicBezTo>
                  <a:cubicBezTo>
                    <a:pt x="95328" y="150596"/>
                    <a:pt x="89088" y="153217"/>
                    <a:pt x="81778" y="155000"/>
                  </a:cubicBezTo>
                  <a:cubicBezTo>
                    <a:pt x="74469" y="156783"/>
                    <a:pt x="66071" y="157674"/>
                    <a:pt x="56587" y="157674"/>
                  </a:cubicBezTo>
                  <a:lnTo>
                    <a:pt x="0" y="157674"/>
                  </a:lnTo>
                  <a:close/>
                  <a:moveTo>
                    <a:pt x="208991" y="0"/>
                  </a:moveTo>
                  <a:lnTo>
                    <a:pt x="234236" y="0"/>
                  </a:lnTo>
                  <a:lnTo>
                    <a:pt x="210703" y="29952"/>
                  </a:lnTo>
                  <a:lnTo>
                    <a:pt x="194764" y="29952"/>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1193860" rtl="0" eaLnBrk="1" fontAlgn="base" hangingPunct="1">
                <a:spcBef>
                  <a:spcPct val="0"/>
                </a:spcBef>
                <a:spcAft>
                  <a:spcPct val="0"/>
                </a:spcAft>
                <a:buClr>
                  <a:schemeClr val="tx2"/>
                </a:buClr>
                <a:defRPr sz="1700" kern="1200" baseline="0">
                  <a:solidFill>
                    <a:srgbClr val="FF0000"/>
                  </a:solidFill>
                  <a:latin typeface="Arial" panose="020B0604020202020204" pitchFamily="34" charset="0"/>
                  <a:ea typeface="+mn-ea"/>
                  <a:cs typeface="Arial" panose="020B0604020202020204" pitchFamily="34" charset="0"/>
                </a:defRPr>
              </a:lvl1pPr>
              <a:lvl2pPr marL="180000" indent="-180000" algn="l" defTabSz="119386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360000" indent="-180000" algn="l" defTabSz="119386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540000" indent="-180000" algn="l" defTabSz="1193860" rtl="0" eaLnBrk="1" fontAlgn="base" hangingPunct="1">
                <a:spcBef>
                  <a:spcPct val="0"/>
                </a:spcBef>
                <a:spcAft>
                  <a:spcPct val="0"/>
                </a:spcAft>
                <a:buClr>
                  <a:schemeClr val="tx2"/>
                </a:buClr>
                <a:buSzPct val="120000"/>
                <a:buFont typeface="Arial" pitchFamily="34" charset="0"/>
                <a:buChar char="◦"/>
                <a:defRPr sz="1600" baseline="0">
                  <a:solidFill>
                    <a:schemeClr val="tx1"/>
                  </a:solidFill>
                  <a:latin typeface="+mn-lt"/>
                </a:defRPr>
              </a:lvl4pPr>
              <a:lvl5pPr marL="720000" indent="-180000" algn="l" defTabSz="119386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endParaRPr lang="fr-FR" sz="1735" dirty="0">
                <a:solidFill>
                  <a:srgbClr val="FFC000"/>
                </a:solidFill>
                <a:latin typeface="+mn-lt"/>
                <a:ea typeface="+mn-ea"/>
                <a:cs typeface="+mn-cs"/>
                <a:sym typeface="+mn-lt"/>
              </a:endParaRPr>
            </a:p>
          </p:txBody>
        </p:sp>
        <p:grpSp>
          <p:nvGrpSpPr>
            <p:cNvPr id="13544" name="Group 13543">
              <a:extLst>
                <a:ext uri="{FF2B5EF4-FFF2-40B4-BE49-F238E27FC236}">
                  <a16:creationId xmlns:a16="http://schemas.microsoft.com/office/drawing/2014/main" id="{23F0A374-3931-4476-BE6E-27BFF047AE78}"/>
                </a:ext>
              </a:extLst>
            </p:cNvPr>
            <p:cNvGrpSpPr/>
            <p:nvPr userDrawn="1"/>
          </p:nvGrpSpPr>
          <p:grpSpPr bwMode="ltGray">
            <a:xfrm>
              <a:off x="8270055" y="396357"/>
              <a:ext cx="711995" cy="783280"/>
              <a:chOff x="7337055" y="653091"/>
              <a:chExt cx="748448" cy="823383"/>
            </a:xfrm>
            <a:solidFill>
              <a:schemeClr val="bg1"/>
            </a:solidFill>
          </p:grpSpPr>
          <p:sp>
            <p:nvSpPr>
              <p:cNvPr id="4" name="Rectangle 3">
                <a:extLst>
                  <a:ext uri="{FF2B5EF4-FFF2-40B4-BE49-F238E27FC236}">
                    <a16:creationId xmlns:a16="http://schemas.microsoft.com/office/drawing/2014/main" id="{98CDBCD8-46CE-4273-8E0C-D70702031D21}"/>
                  </a:ext>
                </a:extLst>
              </p:cNvPr>
              <p:cNvSpPr/>
              <p:nvPr userDrawn="1"/>
            </p:nvSpPr>
            <p:spPr bwMode="ltGray">
              <a:xfrm>
                <a:off x="7386013" y="826669"/>
                <a:ext cx="699490" cy="14687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fr-FR" sz="1837" dirty="0">
                  <a:solidFill>
                    <a:schemeClr val="tx1"/>
                  </a:solidFill>
                  <a:latin typeface="+mn-lt"/>
                  <a:ea typeface="+mn-ea"/>
                  <a:cs typeface="+mn-cs"/>
                  <a:sym typeface="+mn-lt"/>
                </a:endParaRPr>
              </a:p>
            </p:txBody>
          </p:sp>
          <p:sp>
            <p:nvSpPr>
              <p:cNvPr id="294" name="Rectangle 293">
                <a:extLst>
                  <a:ext uri="{FF2B5EF4-FFF2-40B4-BE49-F238E27FC236}">
                    <a16:creationId xmlns:a16="http://schemas.microsoft.com/office/drawing/2014/main" id="{F5F1CAD4-2A18-4ED1-A336-6CD395A527AA}"/>
                  </a:ext>
                </a:extLst>
              </p:cNvPr>
              <p:cNvSpPr/>
              <p:nvPr userDrawn="1"/>
            </p:nvSpPr>
            <p:spPr bwMode="ltGray">
              <a:xfrm>
                <a:off x="7337055" y="1156024"/>
                <a:ext cx="699490" cy="14687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fr-FR" sz="1837" dirty="0">
                  <a:solidFill>
                    <a:schemeClr val="tx1"/>
                  </a:solidFill>
                  <a:latin typeface="+mn-lt"/>
                  <a:ea typeface="+mn-ea"/>
                  <a:cs typeface="+mn-cs"/>
                  <a:sym typeface="+mn-lt"/>
                </a:endParaRPr>
              </a:p>
            </p:txBody>
          </p:sp>
          <p:sp>
            <p:nvSpPr>
              <p:cNvPr id="5" name="Freeform: Shape 4">
                <a:extLst>
                  <a:ext uri="{FF2B5EF4-FFF2-40B4-BE49-F238E27FC236}">
                    <a16:creationId xmlns:a16="http://schemas.microsoft.com/office/drawing/2014/main" id="{69962688-C634-4B29-9C05-C0A3688B1CDD}"/>
                  </a:ext>
                </a:extLst>
              </p:cNvPr>
              <p:cNvSpPr/>
              <p:nvPr userDrawn="1"/>
            </p:nvSpPr>
            <p:spPr bwMode="ltGray">
              <a:xfrm>
                <a:off x="7391190" y="653091"/>
                <a:ext cx="320452" cy="823383"/>
              </a:xfrm>
              <a:custGeom>
                <a:avLst/>
                <a:gdLst>
                  <a:gd name="connsiteX0" fmla="*/ 78581 w 171450"/>
                  <a:gd name="connsiteY0" fmla="*/ 0 h 440531"/>
                  <a:gd name="connsiteX1" fmla="*/ 171450 w 171450"/>
                  <a:gd name="connsiteY1" fmla="*/ 0 h 440531"/>
                  <a:gd name="connsiteX2" fmla="*/ 85725 w 171450"/>
                  <a:gd name="connsiteY2" fmla="*/ 440531 h 440531"/>
                  <a:gd name="connsiteX3" fmla="*/ 0 w 171450"/>
                  <a:gd name="connsiteY3" fmla="*/ 440531 h 440531"/>
                  <a:gd name="connsiteX4" fmla="*/ 78581 w 171450"/>
                  <a:gd name="connsiteY4" fmla="*/ 0 h 440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440531">
                    <a:moveTo>
                      <a:pt x="78581" y="0"/>
                    </a:moveTo>
                    <a:lnTo>
                      <a:pt x="171450" y="0"/>
                    </a:lnTo>
                    <a:lnTo>
                      <a:pt x="85725" y="440531"/>
                    </a:lnTo>
                    <a:lnTo>
                      <a:pt x="0" y="440531"/>
                    </a:lnTo>
                    <a:lnTo>
                      <a:pt x="78581"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fr-FR" sz="1837" dirty="0">
                  <a:solidFill>
                    <a:schemeClr val="tx1"/>
                  </a:solidFill>
                  <a:latin typeface="+mn-lt"/>
                  <a:ea typeface="+mn-ea"/>
                  <a:cs typeface="+mn-cs"/>
                  <a:sym typeface="+mn-lt"/>
                </a:endParaRPr>
              </a:p>
            </p:txBody>
          </p:sp>
          <p:sp>
            <p:nvSpPr>
              <p:cNvPr id="297" name="Freeform: Shape 296">
                <a:extLst>
                  <a:ext uri="{FF2B5EF4-FFF2-40B4-BE49-F238E27FC236}">
                    <a16:creationId xmlns:a16="http://schemas.microsoft.com/office/drawing/2014/main" id="{013A569D-159B-4C88-B6E9-B2BDF7E5743F}"/>
                  </a:ext>
                </a:extLst>
              </p:cNvPr>
              <p:cNvSpPr/>
              <p:nvPr userDrawn="1"/>
            </p:nvSpPr>
            <p:spPr bwMode="ltGray">
              <a:xfrm>
                <a:off x="7719802" y="653091"/>
                <a:ext cx="320452" cy="823383"/>
              </a:xfrm>
              <a:custGeom>
                <a:avLst/>
                <a:gdLst>
                  <a:gd name="connsiteX0" fmla="*/ 78581 w 171450"/>
                  <a:gd name="connsiteY0" fmla="*/ 0 h 440531"/>
                  <a:gd name="connsiteX1" fmla="*/ 171450 w 171450"/>
                  <a:gd name="connsiteY1" fmla="*/ 0 h 440531"/>
                  <a:gd name="connsiteX2" fmla="*/ 85725 w 171450"/>
                  <a:gd name="connsiteY2" fmla="*/ 440531 h 440531"/>
                  <a:gd name="connsiteX3" fmla="*/ 0 w 171450"/>
                  <a:gd name="connsiteY3" fmla="*/ 440531 h 440531"/>
                  <a:gd name="connsiteX4" fmla="*/ 78581 w 171450"/>
                  <a:gd name="connsiteY4" fmla="*/ 0 h 440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440531">
                    <a:moveTo>
                      <a:pt x="78581" y="0"/>
                    </a:moveTo>
                    <a:lnTo>
                      <a:pt x="171450" y="0"/>
                    </a:lnTo>
                    <a:lnTo>
                      <a:pt x="85725" y="440531"/>
                    </a:lnTo>
                    <a:lnTo>
                      <a:pt x="0" y="440531"/>
                    </a:lnTo>
                    <a:lnTo>
                      <a:pt x="78581"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fr-FR" sz="1837" dirty="0">
                  <a:solidFill>
                    <a:schemeClr val="tx1"/>
                  </a:solidFill>
                  <a:latin typeface="+mn-lt"/>
                  <a:ea typeface="+mn-ea"/>
                  <a:cs typeface="+mn-cs"/>
                  <a:sym typeface="+mn-lt"/>
                </a:endParaRPr>
              </a:p>
            </p:txBody>
          </p:sp>
        </p:grpSp>
        <p:grpSp>
          <p:nvGrpSpPr>
            <p:cNvPr id="13551" name="Group 13550">
              <a:extLst>
                <a:ext uri="{FF2B5EF4-FFF2-40B4-BE49-F238E27FC236}">
                  <a16:creationId xmlns:a16="http://schemas.microsoft.com/office/drawing/2014/main" id="{35F56BA5-7167-4A4B-AAFA-A22F384310E3}"/>
                </a:ext>
              </a:extLst>
            </p:cNvPr>
            <p:cNvGrpSpPr/>
            <p:nvPr userDrawn="1"/>
          </p:nvGrpSpPr>
          <p:grpSpPr bwMode="ltGray">
            <a:xfrm>
              <a:off x="9028174" y="337274"/>
              <a:ext cx="2553305" cy="892245"/>
              <a:chOff x="8133988" y="590983"/>
              <a:chExt cx="2684031" cy="937927"/>
            </a:xfrm>
          </p:grpSpPr>
          <p:cxnSp>
            <p:nvCxnSpPr>
              <p:cNvPr id="13547" name="Straight Connector 13546">
                <a:extLst>
                  <a:ext uri="{FF2B5EF4-FFF2-40B4-BE49-F238E27FC236}">
                    <a16:creationId xmlns:a16="http://schemas.microsoft.com/office/drawing/2014/main" id="{DF84850E-B181-4E25-A51E-E840853FA45C}"/>
                  </a:ext>
                </a:extLst>
              </p:cNvPr>
              <p:cNvCxnSpPr/>
              <p:nvPr userDrawn="1"/>
            </p:nvCxnSpPr>
            <p:spPr bwMode="ltGray">
              <a:xfrm flipV="1">
                <a:off x="8133988" y="590983"/>
                <a:ext cx="447453" cy="934624"/>
              </a:xfrm>
              <a:prstGeom prst="line">
                <a:avLst/>
              </a:prstGeom>
              <a:ln w="158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3" name="Straight Connector 302">
                <a:extLst>
                  <a:ext uri="{FF2B5EF4-FFF2-40B4-BE49-F238E27FC236}">
                    <a16:creationId xmlns:a16="http://schemas.microsoft.com/office/drawing/2014/main" id="{A906B2F8-3448-4DF3-9362-37797DAC1036}"/>
                  </a:ext>
                </a:extLst>
              </p:cNvPr>
              <p:cNvCxnSpPr>
                <a:cxnSpLocks/>
              </p:cNvCxnSpPr>
              <p:nvPr userDrawn="1"/>
            </p:nvCxnSpPr>
            <p:spPr bwMode="ltGray">
              <a:xfrm flipH="1" flipV="1">
                <a:off x="8581441" y="590983"/>
                <a:ext cx="447453" cy="934624"/>
              </a:xfrm>
              <a:prstGeom prst="line">
                <a:avLst/>
              </a:prstGeom>
              <a:ln w="158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549" name="Straight Connector 13548">
                <a:extLst>
                  <a:ext uri="{FF2B5EF4-FFF2-40B4-BE49-F238E27FC236}">
                    <a16:creationId xmlns:a16="http://schemas.microsoft.com/office/drawing/2014/main" id="{D6A67443-FCFB-480F-B9F2-60F10B25B8C8}"/>
                  </a:ext>
                </a:extLst>
              </p:cNvPr>
              <p:cNvCxnSpPr/>
              <p:nvPr userDrawn="1"/>
            </p:nvCxnSpPr>
            <p:spPr bwMode="ltGray">
              <a:xfrm>
                <a:off x="8267528" y="1241061"/>
                <a:ext cx="624060" cy="0"/>
              </a:xfrm>
              <a:prstGeom prst="line">
                <a:avLst/>
              </a:prstGeom>
              <a:ln w="1587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3550" name="Freeform: Shape 13549">
                <a:extLst>
                  <a:ext uri="{FF2B5EF4-FFF2-40B4-BE49-F238E27FC236}">
                    <a16:creationId xmlns:a16="http://schemas.microsoft.com/office/drawing/2014/main" id="{7F006A05-029B-4B1A-AF1B-21580A50D558}"/>
                  </a:ext>
                </a:extLst>
              </p:cNvPr>
              <p:cNvSpPr/>
              <p:nvPr userDrawn="1"/>
            </p:nvSpPr>
            <p:spPr bwMode="ltGray">
              <a:xfrm>
                <a:off x="9144000" y="607219"/>
                <a:ext cx="778669" cy="921691"/>
              </a:xfrm>
              <a:custGeom>
                <a:avLst/>
                <a:gdLst>
                  <a:gd name="connsiteX0" fmla="*/ 0 w 778669"/>
                  <a:gd name="connsiteY0" fmla="*/ 919162 h 921544"/>
                  <a:gd name="connsiteX1" fmla="*/ 0 w 778669"/>
                  <a:gd name="connsiteY1" fmla="*/ 0 h 921544"/>
                  <a:gd name="connsiteX2" fmla="*/ 323850 w 778669"/>
                  <a:gd name="connsiteY2" fmla="*/ 0 h 921544"/>
                  <a:gd name="connsiteX3" fmla="*/ 778669 w 778669"/>
                  <a:gd name="connsiteY3" fmla="*/ 459581 h 921544"/>
                  <a:gd name="connsiteX4" fmla="*/ 323850 w 778669"/>
                  <a:gd name="connsiteY4" fmla="*/ 921544 h 921544"/>
                  <a:gd name="connsiteX5" fmla="*/ 0 w 778669"/>
                  <a:gd name="connsiteY5" fmla="*/ 919162 h 921544"/>
                  <a:gd name="connsiteX0" fmla="*/ 0 w 778669"/>
                  <a:gd name="connsiteY0" fmla="*/ 919162 h 921544"/>
                  <a:gd name="connsiteX1" fmla="*/ 0 w 778669"/>
                  <a:gd name="connsiteY1" fmla="*/ 0 h 921544"/>
                  <a:gd name="connsiteX2" fmla="*/ 323850 w 778669"/>
                  <a:gd name="connsiteY2" fmla="*/ 0 h 921544"/>
                  <a:gd name="connsiteX3" fmla="*/ 778669 w 778669"/>
                  <a:gd name="connsiteY3" fmla="*/ 459581 h 921544"/>
                  <a:gd name="connsiteX4" fmla="*/ 323850 w 778669"/>
                  <a:gd name="connsiteY4" fmla="*/ 921544 h 921544"/>
                  <a:gd name="connsiteX5" fmla="*/ 0 w 778669"/>
                  <a:gd name="connsiteY5" fmla="*/ 919162 h 921544"/>
                  <a:gd name="connsiteX0" fmla="*/ 0 w 778669"/>
                  <a:gd name="connsiteY0" fmla="*/ 919162 h 921544"/>
                  <a:gd name="connsiteX1" fmla="*/ 0 w 778669"/>
                  <a:gd name="connsiteY1" fmla="*/ 0 h 921544"/>
                  <a:gd name="connsiteX2" fmla="*/ 323850 w 778669"/>
                  <a:gd name="connsiteY2" fmla="*/ 0 h 921544"/>
                  <a:gd name="connsiteX3" fmla="*/ 778669 w 778669"/>
                  <a:gd name="connsiteY3" fmla="*/ 459581 h 921544"/>
                  <a:gd name="connsiteX4" fmla="*/ 323850 w 778669"/>
                  <a:gd name="connsiteY4" fmla="*/ 921544 h 921544"/>
                  <a:gd name="connsiteX5" fmla="*/ 0 w 778669"/>
                  <a:gd name="connsiteY5" fmla="*/ 919162 h 921544"/>
                  <a:gd name="connsiteX0" fmla="*/ 0 w 778669"/>
                  <a:gd name="connsiteY0" fmla="*/ 919162 h 921544"/>
                  <a:gd name="connsiteX1" fmla="*/ 0 w 778669"/>
                  <a:gd name="connsiteY1" fmla="*/ 0 h 921544"/>
                  <a:gd name="connsiteX2" fmla="*/ 323850 w 778669"/>
                  <a:gd name="connsiteY2" fmla="*/ 0 h 921544"/>
                  <a:gd name="connsiteX3" fmla="*/ 778669 w 778669"/>
                  <a:gd name="connsiteY3" fmla="*/ 459581 h 921544"/>
                  <a:gd name="connsiteX4" fmla="*/ 323850 w 778669"/>
                  <a:gd name="connsiteY4" fmla="*/ 921544 h 921544"/>
                  <a:gd name="connsiteX5" fmla="*/ 0 w 778669"/>
                  <a:gd name="connsiteY5" fmla="*/ 919162 h 921544"/>
                  <a:gd name="connsiteX0" fmla="*/ 0 w 778669"/>
                  <a:gd name="connsiteY0" fmla="*/ 919162 h 921691"/>
                  <a:gd name="connsiteX1" fmla="*/ 0 w 778669"/>
                  <a:gd name="connsiteY1" fmla="*/ 0 h 921691"/>
                  <a:gd name="connsiteX2" fmla="*/ 323850 w 778669"/>
                  <a:gd name="connsiteY2" fmla="*/ 0 h 921691"/>
                  <a:gd name="connsiteX3" fmla="*/ 778669 w 778669"/>
                  <a:gd name="connsiteY3" fmla="*/ 459581 h 921691"/>
                  <a:gd name="connsiteX4" fmla="*/ 323850 w 778669"/>
                  <a:gd name="connsiteY4" fmla="*/ 921544 h 921691"/>
                  <a:gd name="connsiteX5" fmla="*/ 0 w 778669"/>
                  <a:gd name="connsiteY5" fmla="*/ 919162 h 921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8669" h="921691">
                    <a:moveTo>
                      <a:pt x="0" y="919162"/>
                    </a:moveTo>
                    <a:lnTo>
                      <a:pt x="0" y="0"/>
                    </a:lnTo>
                    <a:lnTo>
                      <a:pt x="323850" y="0"/>
                    </a:lnTo>
                    <a:cubicBezTo>
                      <a:pt x="425053" y="2778"/>
                      <a:pt x="778669" y="84534"/>
                      <a:pt x="778669" y="459581"/>
                    </a:cubicBezTo>
                    <a:cubicBezTo>
                      <a:pt x="778669" y="834628"/>
                      <a:pt x="413147" y="925910"/>
                      <a:pt x="323850" y="921544"/>
                    </a:cubicBezTo>
                    <a:lnTo>
                      <a:pt x="0" y="919162"/>
                    </a:lnTo>
                    <a:close/>
                  </a:path>
                </a:pathLst>
              </a:custGeom>
              <a:ln w="15875"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837" dirty="0">
                  <a:solidFill>
                    <a:schemeClr val="tx1"/>
                  </a:solidFill>
                  <a:latin typeface="+mn-lt"/>
                  <a:ea typeface="+mn-ea"/>
                  <a:cs typeface="+mn-cs"/>
                  <a:sym typeface="+mn-lt"/>
                </a:endParaRPr>
              </a:p>
            </p:txBody>
          </p:sp>
          <p:sp>
            <p:nvSpPr>
              <p:cNvPr id="309" name="Freeform: Shape 308">
                <a:extLst>
                  <a:ext uri="{FF2B5EF4-FFF2-40B4-BE49-F238E27FC236}">
                    <a16:creationId xmlns:a16="http://schemas.microsoft.com/office/drawing/2014/main" id="{D9C6E2B3-26F7-4726-B9FD-C9F3D30054D9}"/>
                  </a:ext>
                </a:extLst>
              </p:cNvPr>
              <p:cNvSpPr/>
              <p:nvPr userDrawn="1"/>
            </p:nvSpPr>
            <p:spPr bwMode="ltGray">
              <a:xfrm>
                <a:off x="10039350" y="607219"/>
                <a:ext cx="778669" cy="921691"/>
              </a:xfrm>
              <a:custGeom>
                <a:avLst/>
                <a:gdLst>
                  <a:gd name="connsiteX0" fmla="*/ 0 w 778669"/>
                  <a:gd name="connsiteY0" fmla="*/ 919162 h 921544"/>
                  <a:gd name="connsiteX1" fmla="*/ 0 w 778669"/>
                  <a:gd name="connsiteY1" fmla="*/ 0 h 921544"/>
                  <a:gd name="connsiteX2" fmla="*/ 323850 w 778669"/>
                  <a:gd name="connsiteY2" fmla="*/ 0 h 921544"/>
                  <a:gd name="connsiteX3" fmla="*/ 778669 w 778669"/>
                  <a:gd name="connsiteY3" fmla="*/ 459581 h 921544"/>
                  <a:gd name="connsiteX4" fmla="*/ 323850 w 778669"/>
                  <a:gd name="connsiteY4" fmla="*/ 921544 h 921544"/>
                  <a:gd name="connsiteX5" fmla="*/ 0 w 778669"/>
                  <a:gd name="connsiteY5" fmla="*/ 919162 h 921544"/>
                  <a:gd name="connsiteX0" fmla="*/ 0 w 778669"/>
                  <a:gd name="connsiteY0" fmla="*/ 919162 h 921544"/>
                  <a:gd name="connsiteX1" fmla="*/ 0 w 778669"/>
                  <a:gd name="connsiteY1" fmla="*/ 0 h 921544"/>
                  <a:gd name="connsiteX2" fmla="*/ 323850 w 778669"/>
                  <a:gd name="connsiteY2" fmla="*/ 0 h 921544"/>
                  <a:gd name="connsiteX3" fmla="*/ 778669 w 778669"/>
                  <a:gd name="connsiteY3" fmla="*/ 459581 h 921544"/>
                  <a:gd name="connsiteX4" fmla="*/ 323850 w 778669"/>
                  <a:gd name="connsiteY4" fmla="*/ 921544 h 921544"/>
                  <a:gd name="connsiteX5" fmla="*/ 0 w 778669"/>
                  <a:gd name="connsiteY5" fmla="*/ 919162 h 921544"/>
                  <a:gd name="connsiteX0" fmla="*/ 0 w 778669"/>
                  <a:gd name="connsiteY0" fmla="*/ 919162 h 921544"/>
                  <a:gd name="connsiteX1" fmla="*/ 0 w 778669"/>
                  <a:gd name="connsiteY1" fmla="*/ 0 h 921544"/>
                  <a:gd name="connsiteX2" fmla="*/ 323850 w 778669"/>
                  <a:gd name="connsiteY2" fmla="*/ 0 h 921544"/>
                  <a:gd name="connsiteX3" fmla="*/ 778669 w 778669"/>
                  <a:gd name="connsiteY3" fmla="*/ 459581 h 921544"/>
                  <a:gd name="connsiteX4" fmla="*/ 323850 w 778669"/>
                  <a:gd name="connsiteY4" fmla="*/ 921544 h 921544"/>
                  <a:gd name="connsiteX5" fmla="*/ 0 w 778669"/>
                  <a:gd name="connsiteY5" fmla="*/ 919162 h 921544"/>
                  <a:gd name="connsiteX0" fmla="*/ 0 w 778669"/>
                  <a:gd name="connsiteY0" fmla="*/ 919162 h 921544"/>
                  <a:gd name="connsiteX1" fmla="*/ 0 w 778669"/>
                  <a:gd name="connsiteY1" fmla="*/ 0 h 921544"/>
                  <a:gd name="connsiteX2" fmla="*/ 323850 w 778669"/>
                  <a:gd name="connsiteY2" fmla="*/ 0 h 921544"/>
                  <a:gd name="connsiteX3" fmla="*/ 778669 w 778669"/>
                  <a:gd name="connsiteY3" fmla="*/ 459581 h 921544"/>
                  <a:gd name="connsiteX4" fmla="*/ 323850 w 778669"/>
                  <a:gd name="connsiteY4" fmla="*/ 921544 h 921544"/>
                  <a:gd name="connsiteX5" fmla="*/ 0 w 778669"/>
                  <a:gd name="connsiteY5" fmla="*/ 919162 h 921544"/>
                  <a:gd name="connsiteX0" fmla="*/ 0 w 778669"/>
                  <a:gd name="connsiteY0" fmla="*/ 919162 h 921691"/>
                  <a:gd name="connsiteX1" fmla="*/ 0 w 778669"/>
                  <a:gd name="connsiteY1" fmla="*/ 0 h 921691"/>
                  <a:gd name="connsiteX2" fmla="*/ 323850 w 778669"/>
                  <a:gd name="connsiteY2" fmla="*/ 0 h 921691"/>
                  <a:gd name="connsiteX3" fmla="*/ 778669 w 778669"/>
                  <a:gd name="connsiteY3" fmla="*/ 459581 h 921691"/>
                  <a:gd name="connsiteX4" fmla="*/ 323850 w 778669"/>
                  <a:gd name="connsiteY4" fmla="*/ 921544 h 921691"/>
                  <a:gd name="connsiteX5" fmla="*/ 0 w 778669"/>
                  <a:gd name="connsiteY5" fmla="*/ 919162 h 921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8669" h="921691">
                    <a:moveTo>
                      <a:pt x="0" y="919162"/>
                    </a:moveTo>
                    <a:lnTo>
                      <a:pt x="0" y="0"/>
                    </a:lnTo>
                    <a:lnTo>
                      <a:pt x="323850" y="0"/>
                    </a:lnTo>
                    <a:cubicBezTo>
                      <a:pt x="425053" y="2778"/>
                      <a:pt x="778669" y="84534"/>
                      <a:pt x="778669" y="459581"/>
                    </a:cubicBezTo>
                    <a:cubicBezTo>
                      <a:pt x="778669" y="834628"/>
                      <a:pt x="413147" y="925910"/>
                      <a:pt x="323850" y="921544"/>
                    </a:cubicBezTo>
                    <a:lnTo>
                      <a:pt x="0" y="919162"/>
                    </a:lnTo>
                    <a:close/>
                  </a:path>
                </a:pathLst>
              </a:custGeom>
              <a:ln w="15875"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837" dirty="0">
                  <a:solidFill>
                    <a:schemeClr val="tx1"/>
                  </a:solidFill>
                  <a:latin typeface="+mn-lt"/>
                  <a:ea typeface="+mn-ea"/>
                  <a:cs typeface="+mn-cs"/>
                  <a:sym typeface="+mn-lt"/>
                </a:endParaRPr>
              </a:p>
            </p:txBody>
          </p:sp>
        </p:grpSp>
        <p:sp>
          <p:nvSpPr>
            <p:cNvPr id="314" name="TextBox 313">
              <a:extLst>
                <a:ext uri="{FF2B5EF4-FFF2-40B4-BE49-F238E27FC236}">
                  <a16:creationId xmlns:a16="http://schemas.microsoft.com/office/drawing/2014/main" id="{9B58554F-E899-4AE0-9A57-1DA16BB15C55}"/>
                </a:ext>
              </a:extLst>
            </p:cNvPr>
            <p:cNvSpPr txBox="1">
              <a:spLocks noChangeArrowheads="1"/>
            </p:cNvSpPr>
            <p:nvPr userDrawn="1"/>
          </p:nvSpPr>
          <p:spPr bwMode="ltGray">
            <a:xfrm>
              <a:off x="8259786" y="1407161"/>
              <a:ext cx="968364" cy="193039"/>
            </a:xfrm>
            <a:custGeom>
              <a:avLst/>
              <a:gdLst/>
              <a:ahLst/>
              <a:cxnLst/>
              <a:rect l="l" t="t" r="r" b="b"/>
              <a:pathLst>
                <a:path w="1017943" h="202922">
                  <a:moveTo>
                    <a:pt x="848232" y="56587"/>
                  </a:moveTo>
                  <a:cubicBezTo>
                    <a:pt x="839675" y="56587"/>
                    <a:pt x="832525" y="60082"/>
                    <a:pt x="826785" y="67070"/>
                  </a:cubicBezTo>
                  <a:cubicBezTo>
                    <a:pt x="821044" y="74059"/>
                    <a:pt x="818174" y="85077"/>
                    <a:pt x="818174" y="100124"/>
                  </a:cubicBezTo>
                  <a:cubicBezTo>
                    <a:pt x="818174" y="114672"/>
                    <a:pt x="821240" y="125547"/>
                    <a:pt x="827373" y="132750"/>
                  </a:cubicBezTo>
                  <a:cubicBezTo>
                    <a:pt x="833506" y="139953"/>
                    <a:pt x="840744" y="143554"/>
                    <a:pt x="849088" y="143554"/>
                  </a:cubicBezTo>
                  <a:cubicBezTo>
                    <a:pt x="857503" y="143554"/>
                    <a:pt x="864652" y="140113"/>
                    <a:pt x="870535" y="133231"/>
                  </a:cubicBezTo>
                  <a:cubicBezTo>
                    <a:pt x="876419" y="126350"/>
                    <a:pt x="879360" y="115849"/>
                    <a:pt x="879360" y="101729"/>
                  </a:cubicBezTo>
                  <a:cubicBezTo>
                    <a:pt x="879360" y="86182"/>
                    <a:pt x="876365" y="74772"/>
                    <a:pt x="870375" y="67498"/>
                  </a:cubicBezTo>
                  <a:cubicBezTo>
                    <a:pt x="864385" y="60224"/>
                    <a:pt x="857004" y="56587"/>
                    <a:pt x="848232" y="56587"/>
                  </a:cubicBezTo>
                  <a:close/>
                  <a:moveTo>
                    <a:pt x="200853" y="56587"/>
                  </a:moveTo>
                  <a:cubicBezTo>
                    <a:pt x="192295" y="56587"/>
                    <a:pt x="185021" y="60064"/>
                    <a:pt x="179031" y="67017"/>
                  </a:cubicBezTo>
                  <a:cubicBezTo>
                    <a:pt x="173041" y="73970"/>
                    <a:pt x="170046" y="84292"/>
                    <a:pt x="170046" y="97985"/>
                  </a:cubicBezTo>
                  <a:cubicBezTo>
                    <a:pt x="170046" y="112889"/>
                    <a:pt x="173005" y="123764"/>
                    <a:pt x="178924" y="130611"/>
                  </a:cubicBezTo>
                  <a:cubicBezTo>
                    <a:pt x="184843" y="137457"/>
                    <a:pt x="192260" y="140880"/>
                    <a:pt x="201174" y="140880"/>
                  </a:cubicBezTo>
                  <a:cubicBezTo>
                    <a:pt x="210017" y="140880"/>
                    <a:pt x="217433" y="137474"/>
                    <a:pt x="223424" y="130664"/>
                  </a:cubicBezTo>
                  <a:cubicBezTo>
                    <a:pt x="229414" y="123854"/>
                    <a:pt x="232409" y="113174"/>
                    <a:pt x="232409" y="98626"/>
                  </a:cubicBezTo>
                  <a:cubicBezTo>
                    <a:pt x="232409" y="84720"/>
                    <a:pt x="229325" y="74237"/>
                    <a:pt x="223156" y="67177"/>
                  </a:cubicBezTo>
                  <a:cubicBezTo>
                    <a:pt x="216988" y="60117"/>
                    <a:pt x="209553" y="56587"/>
                    <a:pt x="200853" y="56587"/>
                  </a:cubicBezTo>
                  <a:close/>
                  <a:moveTo>
                    <a:pt x="966490" y="56480"/>
                  </a:moveTo>
                  <a:cubicBezTo>
                    <a:pt x="957647" y="56480"/>
                    <a:pt x="950213" y="59440"/>
                    <a:pt x="944187" y="65359"/>
                  </a:cubicBezTo>
                  <a:cubicBezTo>
                    <a:pt x="938161" y="71278"/>
                    <a:pt x="934827" y="79194"/>
                    <a:pt x="934185" y="89106"/>
                  </a:cubicBezTo>
                  <a:lnTo>
                    <a:pt x="997618" y="89106"/>
                  </a:lnTo>
                  <a:cubicBezTo>
                    <a:pt x="996763" y="79550"/>
                    <a:pt x="994338" y="72383"/>
                    <a:pt x="990344" y="67605"/>
                  </a:cubicBezTo>
                  <a:cubicBezTo>
                    <a:pt x="984211" y="60188"/>
                    <a:pt x="976260" y="56480"/>
                    <a:pt x="966490" y="56480"/>
                  </a:cubicBezTo>
                  <a:close/>
                  <a:moveTo>
                    <a:pt x="671215" y="56480"/>
                  </a:moveTo>
                  <a:cubicBezTo>
                    <a:pt x="662372" y="56480"/>
                    <a:pt x="654938" y="59440"/>
                    <a:pt x="648912" y="65359"/>
                  </a:cubicBezTo>
                  <a:cubicBezTo>
                    <a:pt x="642886" y="71278"/>
                    <a:pt x="639552" y="79194"/>
                    <a:pt x="638910" y="89106"/>
                  </a:cubicBezTo>
                  <a:lnTo>
                    <a:pt x="702343" y="89106"/>
                  </a:lnTo>
                  <a:cubicBezTo>
                    <a:pt x="701488" y="79550"/>
                    <a:pt x="699063" y="72383"/>
                    <a:pt x="695069" y="67605"/>
                  </a:cubicBezTo>
                  <a:cubicBezTo>
                    <a:pt x="688936" y="60188"/>
                    <a:pt x="680985" y="56480"/>
                    <a:pt x="671215" y="56480"/>
                  </a:cubicBezTo>
                  <a:close/>
                  <a:moveTo>
                    <a:pt x="318790" y="56480"/>
                  </a:moveTo>
                  <a:cubicBezTo>
                    <a:pt x="309947" y="56480"/>
                    <a:pt x="302513" y="59440"/>
                    <a:pt x="296487" y="65359"/>
                  </a:cubicBezTo>
                  <a:cubicBezTo>
                    <a:pt x="290461" y="71278"/>
                    <a:pt x="287127" y="79194"/>
                    <a:pt x="286485" y="89106"/>
                  </a:cubicBezTo>
                  <a:lnTo>
                    <a:pt x="349918" y="89106"/>
                  </a:lnTo>
                  <a:cubicBezTo>
                    <a:pt x="349063" y="79550"/>
                    <a:pt x="346638" y="72383"/>
                    <a:pt x="342644" y="67605"/>
                  </a:cubicBezTo>
                  <a:cubicBezTo>
                    <a:pt x="336511" y="60188"/>
                    <a:pt x="328560" y="56480"/>
                    <a:pt x="318790" y="56480"/>
                  </a:cubicBezTo>
                  <a:close/>
                  <a:moveTo>
                    <a:pt x="966276" y="40649"/>
                  </a:moveTo>
                  <a:cubicBezTo>
                    <a:pt x="981466" y="40649"/>
                    <a:pt x="993874" y="45819"/>
                    <a:pt x="1003502" y="56159"/>
                  </a:cubicBezTo>
                  <a:cubicBezTo>
                    <a:pt x="1013129" y="66500"/>
                    <a:pt x="1017943" y="81048"/>
                    <a:pt x="1017943" y="99803"/>
                  </a:cubicBezTo>
                  <a:cubicBezTo>
                    <a:pt x="1017943" y="100944"/>
                    <a:pt x="1017907" y="102656"/>
                    <a:pt x="1017836" y="104938"/>
                  </a:cubicBezTo>
                  <a:lnTo>
                    <a:pt x="933115" y="104938"/>
                  </a:lnTo>
                  <a:cubicBezTo>
                    <a:pt x="933828" y="117418"/>
                    <a:pt x="937358" y="126974"/>
                    <a:pt x="943705" y="133606"/>
                  </a:cubicBezTo>
                  <a:cubicBezTo>
                    <a:pt x="950052" y="140238"/>
                    <a:pt x="957968" y="143554"/>
                    <a:pt x="967453" y="143554"/>
                  </a:cubicBezTo>
                  <a:cubicBezTo>
                    <a:pt x="974513" y="143554"/>
                    <a:pt x="980539" y="141700"/>
                    <a:pt x="985531" y="137991"/>
                  </a:cubicBezTo>
                  <a:cubicBezTo>
                    <a:pt x="990523" y="134283"/>
                    <a:pt x="994481" y="128364"/>
                    <a:pt x="997404" y="120234"/>
                  </a:cubicBezTo>
                  <a:lnTo>
                    <a:pt x="1017301" y="122695"/>
                  </a:lnTo>
                  <a:cubicBezTo>
                    <a:pt x="1014163" y="134319"/>
                    <a:pt x="1008351" y="143340"/>
                    <a:pt x="999865" y="149758"/>
                  </a:cubicBezTo>
                  <a:cubicBezTo>
                    <a:pt x="991378" y="156176"/>
                    <a:pt x="980539" y="159386"/>
                    <a:pt x="967346" y="159386"/>
                  </a:cubicBezTo>
                  <a:cubicBezTo>
                    <a:pt x="950730" y="159386"/>
                    <a:pt x="937555" y="154269"/>
                    <a:pt x="927820" y="144035"/>
                  </a:cubicBezTo>
                  <a:cubicBezTo>
                    <a:pt x="918086" y="133802"/>
                    <a:pt x="913219" y="119450"/>
                    <a:pt x="913219" y="100980"/>
                  </a:cubicBezTo>
                  <a:cubicBezTo>
                    <a:pt x="913219" y="81868"/>
                    <a:pt x="918140" y="67035"/>
                    <a:pt x="927981" y="56480"/>
                  </a:cubicBezTo>
                  <a:cubicBezTo>
                    <a:pt x="937822" y="45926"/>
                    <a:pt x="950587" y="40649"/>
                    <a:pt x="966276" y="40649"/>
                  </a:cubicBezTo>
                  <a:close/>
                  <a:moveTo>
                    <a:pt x="671001" y="40649"/>
                  </a:moveTo>
                  <a:cubicBezTo>
                    <a:pt x="686191" y="40649"/>
                    <a:pt x="698599" y="45819"/>
                    <a:pt x="708227" y="56159"/>
                  </a:cubicBezTo>
                  <a:cubicBezTo>
                    <a:pt x="717854" y="66500"/>
                    <a:pt x="722668" y="81048"/>
                    <a:pt x="722668" y="99803"/>
                  </a:cubicBezTo>
                  <a:cubicBezTo>
                    <a:pt x="722668" y="100944"/>
                    <a:pt x="722632" y="102656"/>
                    <a:pt x="722561" y="104938"/>
                  </a:cubicBezTo>
                  <a:lnTo>
                    <a:pt x="637840" y="104938"/>
                  </a:lnTo>
                  <a:cubicBezTo>
                    <a:pt x="638553" y="117418"/>
                    <a:pt x="642083" y="126974"/>
                    <a:pt x="648430" y="133606"/>
                  </a:cubicBezTo>
                  <a:cubicBezTo>
                    <a:pt x="654777" y="140238"/>
                    <a:pt x="662693" y="143554"/>
                    <a:pt x="672178" y="143554"/>
                  </a:cubicBezTo>
                  <a:cubicBezTo>
                    <a:pt x="679238" y="143554"/>
                    <a:pt x="685264" y="141700"/>
                    <a:pt x="690256" y="137991"/>
                  </a:cubicBezTo>
                  <a:cubicBezTo>
                    <a:pt x="695248" y="134283"/>
                    <a:pt x="699206" y="128364"/>
                    <a:pt x="702129" y="120234"/>
                  </a:cubicBezTo>
                  <a:lnTo>
                    <a:pt x="722026" y="122695"/>
                  </a:lnTo>
                  <a:cubicBezTo>
                    <a:pt x="718888" y="134319"/>
                    <a:pt x="713076" y="143340"/>
                    <a:pt x="704590" y="149758"/>
                  </a:cubicBezTo>
                  <a:cubicBezTo>
                    <a:pt x="696103" y="156176"/>
                    <a:pt x="685264" y="159386"/>
                    <a:pt x="672071" y="159386"/>
                  </a:cubicBezTo>
                  <a:cubicBezTo>
                    <a:pt x="655455" y="159386"/>
                    <a:pt x="642280" y="154269"/>
                    <a:pt x="632545" y="144035"/>
                  </a:cubicBezTo>
                  <a:cubicBezTo>
                    <a:pt x="622811" y="133802"/>
                    <a:pt x="617944" y="119450"/>
                    <a:pt x="617944" y="100980"/>
                  </a:cubicBezTo>
                  <a:cubicBezTo>
                    <a:pt x="617944" y="81868"/>
                    <a:pt x="622864" y="67035"/>
                    <a:pt x="632706" y="56480"/>
                  </a:cubicBezTo>
                  <a:cubicBezTo>
                    <a:pt x="642547" y="45926"/>
                    <a:pt x="655312" y="40649"/>
                    <a:pt x="671001" y="40649"/>
                  </a:cubicBezTo>
                  <a:close/>
                  <a:moveTo>
                    <a:pt x="555952" y="40649"/>
                  </a:moveTo>
                  <a:cubicBezTo>
                    <a:pt x="568290" y="40649"/>
                    <a:pt x="578380" y="43769"/>
                    <a:pt x="586225" y="50008"/>
                  </a:cubicBezTo>
                  <a:cubicBezTo>
                    <a:pt x="594069" y="56248"/>
                    <a:pt x="599097" y="65109"/>
                    <a:pt x="601308" y="76591"/>
                  </a:cubicBezTo>
                  <a:lnTo>
                    <a:pt x="582588" y="79479"/>
                  </a:lnTo>
                  <a:cubicBezTo>
                    <a:pt x="580805" y="71848"/>
                    <a:pt x="577649" y="66108"/>
                    <a:pt x="573121" y="62257"/>
                  </a:cubicBezTo>
                  <a:cubicBezTo>
                    <a:pt x="568593" y="58406"/>
                    <a:pt x="563119" y="56480"/>
                    <a:pt x="556701" y="56480"/>
                  </a:cubicBezTo>
                  <a:cubicBezTo>
                    <a:pt x="547002" y="56480"/>
                    <a:pt x="539122" y="59957"/>
                    <a:pt x="533061" y="66910"/>
                  </a:cubicBezTo>
                  <a:cubicBezTo>
                    <a:pt x="526999" y="73863"/>
                    <a:pt x="523968" y="84863"/>
                    <a:pt x="523968" y="99910"/>
                  </a:cubicBezTo>
                  <a:cubicBezTo>
                    <a:pt x="523968" y="115171"/>
                    <a:pt x="526892" y="126260"/>
                    <a:pt x="532740" y="133178"/>
                  </a:cubicBezTo>
                  <a:cubicBezTo>
                    <a:pt x="538588" y="140095"/>
                    <a:pt x="546218" y="143554"/>
                    <a:pt x="555631" y="143554"/>
                  </a:cubicBezTo>
                  <a:cubicBezTo>
                    <a:pt x="563191" y="143554"/>
                    <a:pt x="569502" y="141236"/>
                    <a:pt x="574565" y="136601"/>
                  </a:cubicBezTo>
                  <a:cubicBezTo>
                    <a:pt x="579628" y="131965"/>
                    <a:pt x="582838" y="124834"/>
                    <a:pt x="584192" y="115207"/>
                  </a:cubicBezTo>
                  <a:lnTo>
                    <a:pt x="603126" y="117667"/>
                  </a:lnTo>
                  <a:cubicBezTo>
                    <a:pt x="601058" y="130718"/>
                    <a:pt x="595763" y="140933"/>
                    <a:pt x="587241" y="148314"/>
                  </a:cubicBezTo>
                  <a:cubicBezTo>
                    <a:pt x="578719" y="155695"/>
                    <a:pt x="568254" y="159386"/>
                    <a:pt x="555845" y="159386"/>
                  </a:cubicBezTo>
                  <a:cubicBezTo>
                    <a:pt x="540299" y="159386"/>
                    <a:pt x="527801" y="154304"/>
                    <a:pt x="518352" y="144142"/>
                  </a:cubicBezTo>
                  <a:cubicBezTo>
                    <a:pt x="508903" y="133980"/>
                    <a:pt x="504179" y="119414"/>
                    <a:pt x="504179" y="100445"/>
                  </a:cubicBezTo>
                  <a:cubicBezTo>
                    <a:pt x="504179" y="88179"/>
                    <a:pt x="506211" y="77446"/>
                    <a:pt x="510276" y="68247"/>
                  </a:cubicBezTo>
                  <a:cubicBezTo>
                    <a:pt x="514341" y="59047"/>
                    <a:pt x="520527" y="52148"/>
                    <a:pt x="528835" y="47548"/>
                  </a:cubicBezTo>
                  <a:cubicBezTo>
                    <a:pt x="537143" y="42948"/>
                    <a:pt x="546182" y="40649"/>
                    <a:pt x="555952" y="40649"/>
                  </a:cubicBezTo>
                  <a:close/>
                  <a:moveTo>
                    <a:pt x="449247" y="40649"/>
                  </a:moveTo>
                  <a:cubicBezTo>
                    <a:pt x="456093" y="40649"/>
                    <a:pt x="462387" y="41879"/>
                    <a:pt x="468127" y="44339"/>
                  </a:cubicBezTo>
                  <a:cubicBezTo>
                    <a:pt x="473868" y="46799"/>
                    <a:pt x="478165" y="50026"/>
                    <a:pt x="481017" y="54020"/>
                  </a:cubicBezTo>
                  <a:cubicBezTo>
                    <a:pt x="483870" y="58013"/>
                    <a:pt x="485867" y="62756"/>
                    <a:pt x="487008" y="68247"/>
                  </a:cubicBezTo>
                  <a:cubicBezTo>
                    <a:pt x="487721" y="71813"/>
                    <a:pt x="488077" y="78053"/>
                    <a:pt x="488077" y="86967"/>
                  </a:cubicBezTo>
                  <a:lnTo>
                    <a:pt x="488077" y="156818"/>
                  </a:lnTo>
                  <a:lnTo>
                    <a:pt x="468823" y="156818"/>
                  </a:lnTo>
                  <a:lnTo>
                    <a:pt x="468823" y="87715"/>
                  </a:lnTo>
                  <a:cubicBezTo>
                    <a:pt x="468823" y="79871"/>
                    <a:pt x="468074" y="74005"/>
                    <a:pt x="466576" y="70119"/>
                  </a:cubicBezTo>
                  <a:cubicBezTo>
                    <a:pt x="465079" y="66232"/>
                    <a:pt x="462422" y="63130"/>
                    <a:pt x="458607" y="60812"/>
                  </a:cubicBezTo>
                  <a:cubicBezTo>
                    <a:pt x="454792" y="58495"/>
                    <a:pt x="450317" y="57336"/>
                    <a:pt x="445182" y="57336"/>
                  </a:cubicBezTo>
                  <a:cubicBezTo>
                    <a:pt x="436981" y="57336"/>
                    <a:pt x="429903" y="59939"/>
                    <a:pt x="423949" y="65145"/>
                  </a:cubicBezTo>
                  <a:cubicBezTo>
                    <a:pt x="417994" y="70351"/>
                    <a:pt x="415017" y="80228"/>
                    <a:pt x="415017" y="94776"/>
                  </a:cubicBezTo>
                  <a:lnTo>
                    <a:pt x="415017" y="156818"/>
                  </a:lnTo>
                  <a:lnTo>
                    <a:pt x="395762" y="156818"/>
                  </a:lnTo>
                  <a:lnTo>
                    <a:pt x="395762" y="43216"/>
                  </a:lnTo>
                  <a:lnTo>
                    <a:pt x="413091" y="43216"/>
                  </a:lnTo>
                  <a:lnTo>
                    <a:pt x="413091" y="59368"/>
                  </a:lnTo>
                  <a:cubicBezTo>
                    <a:pt x="421435" y="46889"/>
                    <a:pt x="433487" y="40649"/>
                    <a:pt x="449247" y="40649"/>
                  </a:cubicBezTo>
                  <a:close/>
                  <a:moveTo>
                    <a:pt x="318576" y="40649"/>
                  </a:moveTo>
                  <a:cubicBezTo>
                    <a:pt x="333766" y="40649"/>
                    <a:pt x="346174" y="45819"/>
                    <a:pt x="355802" y="56159"/>
                  </a:cubicBezTo>
                  <a:cubicBezTo>
                    <a:pt x="365429" y="66500"/>
                    <a:pt x="370243" y="81048"/>
                    <a:pt x="370243" y="99803"/>
                  </a:cubicBezTo>
                  <a:cubicBezTo>
                    <a:pt x="370243" y="100944"/>
                    <a:pt x="370207" y="102656"/>
                    <a:pt x="370136" y="104938"/>
                  </a:cubicBezTo>
                  <a:lnTo>
                    <a:pt x="285415" y="104938"/>
                  </a:lnTo>
                  <a:cubicBezTo>
                    <a:pt x="286128" y="117418"/>
                    <a:pt x="289658" y="126974"/>
                    <a:pt x="296005" y="133606"/>
                  </a:cubicBezTo>
                  <a:cubicBezTo>
                    <a:pt x="302352" y="140238"/>
                    <a:pt x="310268" y="143554"/>
                    <a:pt x="319753" y="143554"/>
                  </a:cubicBezTo>
                  <a:cubicBezTo>
                    <a:pt x="326813" y="143554"/>
                    <a:pt x="332839" y="141700"/>
                    <a:pt x="337831" y="137991"/>
                  </a:cubicBezTo>
                  <a:cubicBezTo>
                    <a:pt x="342823" y="134283"/>
                    <a:pt x="346781" y="128364"/>
                    <a:pt x="349704" y="120234"/>
                  </a:cubicBezTo>
                  <a:lnTo>
                    <a:pt x="369601" y="122695"/>
                  </a:lnTo>
                  <a:cubicBezTo>
                    <a:pt x="366463" y="134319"/>
                    <a:pt x="360651" y="143340"/>
                    <a:pt x="352165" y="149758"/>
                  </a:cubicBezTo>
                  <a:cubicBezTo>
                    <a:pt x="343678" y="156176"/>
                    <a:pt x="332839" y="159386"/>
                    <a:pt x="319646" y="159386"/>
                  </a:cubicBezTo>
                  <a:cubicBezTo>
                    <a:pt x="303030" y="159386"/>
                    <a:pt x="289855" y="154269"/>
                    <a:pt x="280120" y="144035"/>
                  </a:cubicBezTo>
                  <a:cubicBezTo>
                    <a:pt x="270386" y="133802"/>
                    <a:pt x="265519" y="119450"/>
                    <a:pt x="265519" y="100980"/>
                  </a:cubicBezTo>
                  <a:cubicBezTo>
                    <a:pt x="265519" y="81868"/>
                    <a:pt x="270439" y="67035"/>
                    <a:pt x="280281" y="56480"/>
                  </a:cubicBezTo>
                  <a:cubicBezTo>
                    <a:pt x="290122" y="45926"/>
                    <a:pt x="302887" y="40649"/>
                    <a:pt x="318576" y="40649"/>
                  </a:cubicBezTo>
                  <a:close/>
                  <a:moveTo>
                    <a:pt x="199462" y="40649"/>
                  </a:moveTo>
                  <a:cubicBezTo>
                    <a:pt x="212869" y="40649"/>
                    <a:pt x="223923" y="46068"/>
                    <a:pt x="232623" y="56908"/>
                  </a:cubicBezTo>
                  <a:lnTo>
                    <a:pt x="232623" y="43216"/>
                  </a:lnTo>
                  <a:lnTo>
                    <a:pt x="250380" y="43216"/>
                  </a:lnTo>
                  <a:lnTo>
                    <a:pt x="250380" y="141415"/>
                  </a:lnTo>
                  <a:cubicBezTo>
                    <a:pt x="250380" y="159100"/>
                    <a:pt x="248580" y="171634"/>
                    <a:pt x="244978" y="179015"/>
                  </a:cubicBezTo>
                  <a:cubicBezTo>
                    <a:pt x="241377" y="186396"/>
                    <a:pt x="235672" y="192225"/>
                    <a:pt x="227863" y="196504"/>
                  </a:cubicBezTo>
                  <a:cubicBezTo>
                    <a:pt x="220054" y="200783"/>
                    <a:pt x="210445" y="202922"/>
                    <a:pt x="199035" y="202922"/>
                  </a:cubicBezTo>
                  <a:cubicBezTo>
                    <a:pt x="185485" y="202922"/>
                    <a:pt x="174538" y="199874"/>
                    <a:pt x="166195" y="193776"/>
                  </a:cubicBezTo>
                  <a:cubicBezTo>
                    <a:pt x="157851" y="187679"/>
                    <a:pt x="153822" y="178498"/>
                    <a:pt x="154107" y="166232"/>
                  </a:cubicBezTo>
                  <a:lnTo>
                    <a:pt x="172827" y="169013"/>
                  </a:lnTo>
                  <a:cubicBezTo>
                    <a:pt x="173611" y="174789"/>
                    <a:pt x="175786" y="178997"/>
                    <a:pt x="179352" y="181635"/>
                  </a:cubicBezTo>
                  <a:cubicBezTo>
                    <a:pt x="184130" y="185201"/>
                    <a:pt x="190655" y="186984"/>
                    <a:pt x="198928" y="186984"/>
                  </a:cubicBezTo>
                  <a:cubicBezTo>
                    <a:pt x="207842" y="186984"/>
                    <a:pt x="214724" y="185201"/>
                    <a:pt x="219573" y="181635"/>
                  </a:cubicBezTo>
                  <a:cubicBezTo>
                    <a:pt x="224422" y="178070"/>
                    <a:pt x="227703" y="173078"/>
                    <a:pt x="229414" y="166660"/>
                  </a:cubicBezTo>
                  <a:cubicBezTo>
                    <a:pt x="230412" y="162737"/>
                    <a:pt x="230876" y="154501"/>
                    <a:pt x="230805" y="141949"/>
                  </a:cubicBezTo>
                  <a:cubicBezTo>
                    <a:pt x="222390" y="151862"/>
                    <a:pt x="211907" y="156818"/>
                    <a:pt x="199355" y="156818"/>
                  </a:cubicBezTo>
                  <a:cubicBezTo>
                    <a:pt x="183738" y="156818"/>
                    <a:pt x="171650" y="151184"/>
                    <a:pt x="163093" y="139917"/>
                  </a:cubicBezTo>
                  <a:cubicBezTo>
                    <a:pt x="154535" y="128649"/>
                    <a:pt x="150256" y="115136"/>
                    <a:pt x="150256" y="99375"/>
                  </a:cubicBezTo>
                  <a:cubicBezTo>
                    <a:pt x="150256" y="88536"/>
                    <a:pt x="152217" y="78534"/>
                    <a:pt x="156140" y="69370"/>
                  </a:cubicBezTo>
                  <a:cubicBezTo>
                    <a:pt x="160062" y="60206"/>
                    <a:pt x="165749" y="53128"/>
                    <a:pt x="173201" y="48137"/>
                  </a:cubicBezTo>
                  <a:cubicBezTo>
                    <a:pt x="180654" y="43145"/>
                    <a:pt x="189407" y="40649"/>
                    <a:pt x="199462" y="40649"/>
                  </a:cubicBezTo>
                  <a:close/>
                  <a:moveTo>
                    <a:pt x="70921" y="16473"/>
                  </a:moveTo>
                  <a:cubicBezTo>
                    <a:pt x="68925" y="26529"/>
                    <a:pt x="66108" y="36512"/>
                    <a:pt x="62471" y="46425"/>
                  </a:cubicBezTo>
                  <a:lnTo>
                    <a:pt x="45249" y="92422"/>
                  </a:lnTo>
                  <a:lnTo>
                    <a:pt x="98413" y="92422"/>
                  </a:lnTo>
                  <a:lnTo>
                    <a:pt x="82046" y="48992"/>
                  </a:lnTo>
                  <a:cubicBezTo>
                    <a:pt x="77054" y="35799"/>
                    <a:pt x="73346" y="24960"/>
                    <a:pt x="70921" y="16473"/>
                  </a:cubicBezTo>
                  <a:close/>
                  <a:moveTo>
                    <a:pt x="877756" y="0"/>
                  </a:moveTo>
                  <a:lnTo>
                    <a:pt x="896904" y="0"/>
                  </a:lnTo>
                  <a:lnTo>
                    <a:pt x="896904" y="156818"/>
                  </a:lnTo>
                  <a:lnTo>
                    <a:pt x="879040" y="156818"/>
                  </a:lnTo>
                  <a:lnTo>
                    <a:pt x="879040" y="142484"/>
                  </a:lnTo>
                  <a:cubicBezTo>
                    <a:pt x="871837" y="153752"/>
                    <a:pt x="861247" y="159386"/>
                    <a:pt x="847269" y="159386"/>
                  </a:cubicBezTo>
                  <a:cubicBezTo>
                    <a:pt x="838213" y="159386"/>
                    <a:pt x="829887" y="156890"/>
                    <a:pt x="822292" y="151898"/>
                  </a:cubicBezTo>
                  <a:cubicBezTo>
                    <a:pt x="814697" y="146906"/>
                    <a:pt x="808814" y="139935"/>
                    <a:pt x="804642" y="130985"/>
                  </a:cubicBezTo>
                  <a:cubicBezTo>
                    <a:pt x="800470" y="122035"/>
                    <a:pt x="798384" y="111748"/>
                    <a:pt x="798384" y="100124"/>
                  </a:cubicBezTo>
                  <a:cubicBezTo>
                    <a:pt x="798384" y="88785"/>
                    <a:pt x="800274" y="78498"/>
                    <a:pt x="804053" y="69263"/>
                  </a:cubicBezTo>
                  <a:cubicBezTo>
                    <a:pt x="807833" y="60028"/>
                    <a:pt x="813502" y="52950"/>
                    <a:pt x="821062" y="48030"/>
                  </a:cubicBezTo>
                  <a:cubicBezTo>
                    <a:pt x="828621" y="43109"/>
                    <a:pt x="837072" y="40649"/>
                    <a:pt x="846414" y="40649"/>
                  </a:cubicBezTo>
                  <a:cubicBezTo>
                    <a:pt x="853260" y="40649"/>
                    <a:pt x="859357" y="42093"/>
                    <a:pt x="864706" y="44981"/>
                  </a:cubicBezTo>
                  <a:cubicBezTo>
                    <a:pt x="870054" y="47869"/>
                    <a:pt x="874404" y="51631"/>
                    <a:pt x="877756" y="56266"/>
                  </a:cubicBezTo>
                  <a:close/>
                  <a:moveTo>
                    <a:pt x="60224" y="0"/>
                  </a:moveTo>
                  <a:lnTo>
                    <a:pt x="82581" y="0"/>
                  </a:lnTo>
                  <a:lnTo>
                    <a:pt x="146763" y="156818"/>
                  </a:lnTo>
                  <a:lnTo>
                    <a:pt x="123123" y="156818"/>
                  </a:lnTo>
                  <a:lnTo>
                    <a:pt x="104831" y="109323"/>
                  </a:lnTo>
                  <a:lnTo>
                    <a:pt x="39258" y="109323"/>
                  </a:lnTo>
                  <a:lnTo>
                    <a:pt x="22036" y="156818"/>
                  </a:lnTo>
                  <a:lnTo>
                    <a:pt x="0" y="156818"/>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1193860" rtl="0" eaLnBrk="1" fontAlgn="base" hangingPunct="1">
                <a:spcBef>
                  <a:spcPct val="0"/>
                </a:spcBef>
                <a:spcAft>
                  <a:spcPct val="0"/>
                </a:spcAft>
                <a:buClr>
                  <a:schemeClr val="tx2"/>
                </a:buClr>
                <a:defRPr sz="1700" kern="1200" baseline="0">
                  <a:solidFill>
                    <a:srgbClr val="84A6B0"/>
                  </a:solidFill>
                  <a:latin typeface="Arial" panose="020B0604020202020204" pitchFamily="34" charset="0"/>
                  <a:ea typeface="+mn-ea"/>
                  <a:cs typeface="Arial" panose="020B0604020202020204" pitchFamily="34" charset="0"/>
                </a:defRPr>
              </a:lvl1pPr>
              <a:lvl2pPr marL="180000" indent="-180000" algn="l" defTabSz="119386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360000" indent="-180000" algn="l" defTabSz="119386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540000" indent="-180000" algn="l" defTabSz="1193860" rtl="0" eaLnBrk="1" fontAlgn="base" hangingPunct="1">
                <a:spcBef>
                  <a:spcPct val="0"/>
                </a:spcBef>
                <a:spcAft>
                  <a:spcPct val="0"/>
                </a:spcAft>
                <a:buClr>
                  <a:schemeClr val="tx2"/>
                </a:buClr>
                <a:buSzPct val="120000"/>
                <a:buFont typeface="Arial" pitchFamily="34" charset="0"/>
                <a:buChar char="◦"/>
                <a:defRPr sz="1600" baseline="0">
                  <a:solidFill>
                    <a:schemeClr val="tx1"/>
                  </a:solidFill>
                  <a:latin typeface="+mn-lt"/>
                </a:defRPr>
              </a:lvl4pPr>
              <a:lvl5pPr marL="720000" indent="-180000" algn="l" defTabSz="119386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endParaRPr lang="fr-FR" sz="1735" dirty="0">
                <a:solidFill>
                  <a:srgbClr val="FFC000"/>
                </a:solidFill>
                <a:latin typeface="+mn-lt"/>
                <a:ea typeface="+mn-ea"/>
                <a:cs typeface="+mn-cs"/>
                <a:sym typeface="+mn-lt"/>
              </a:endParaRPr>
            </a:p>
          </p:txBody>
        </p:sp>
        <p:sp>
          <p:nvSpPr>
            <p:cNvPr id="316" name="TextBox 315">
              <a:extLst>
                <a:ext uri="{FF2B5EF4-FFF2-40B4-BE49-F238E27FC236}">
                  <a16:creationId xmlns:a16="http://schemas.microsoft.com/office/drawing/2014/main" id="{C9CCD87B-92BD-43A3-9632-157D1C815793}"/>
                </a:ext>
              </a:extLst>
            </p:cNvPr>
            <p:cNvSpPr txBox="1">
              <a:spLocks noChangeArrowheads="1"/>
            </p:cNvSpPr>
            <p:nvPr userDrawn="1"/>
          </p:nvSpPr>
          <p:spPr bwMode="ltGray">
            <a:xfrm>
              <a:off x="11068875" y="1407161"/>
              <a:ext cx="541113" cy="193039"/>
            </a:xfrm>
            <a:custGeom>
              <a:avLst/>
              <a:gdLst/>
              <a:ahLst/>
              <a:cxnLst/>
              <a:rect l="l" t="t" r="r" b="b"/>
              <a:pathLst>
                <a:path w="568817" h="202922">
                  <a:moveTo>
                    <a:pt x="498691" y="99803"/>
                  </a:moveTo>
                  <a:cubicBezTo>
                    <a:pt x="491702" y="102656"/>
                    <a:pt x="481219" y="105080"/>
                    <a:pt x="467242" y="107077"/>
                  </a:cubicBezTo>
                  <a:cubicBezTo>
                    <a:pt x="459326" y="108218"/>
                    <a:pt x="453728" y="109502"/>
                    <a:pt x="450447" y="110928"/>
                  </a:cubicBezTo>
                  <a:cubicBezTo>
                    <a:pt x="447167" y="112354"/>
                    <a:pt x="444635" y="114440"/>
                    <a:pt x="442852" y="117186"/>
                  </a:cubicBezTo>
                  <a:cubicBezTo>
                    <a:pt x="441070" y="119931"/>
                    <a:pt x="440178" y="122980"/>
                    <a:pt x="440178" y="126332"/>
                  </a:cubicBezTo>
                  <a:cubicBezTo>
                    <a:pt x="440178" y="131466"/>
                    <a:pt x="442121" y="135745"/>
                    <a:pt x="446008" y="139168"/>
                  </a:cubicBezTo>
                  <a:cubicBezTo>
                    <a:pt x="449895" y="142591"/>
                    <a:pt x="455582" y="144303"/>
                    <a:pt x="463070" y="144303"/>
                  </a:cubicBezTo>
                  <a:cubicBezTo>
                    <a:pt x="470486" y="144303"/>
                    <a:pt x="477083" y="142680"/>
                    <a:pt x="482859" y="139436"/>
                  </a:cubicBezTo>
                  <a:cubicBezTo>
                    <a:pt x="488636" y="136191"/>
                    <a:pt x="492879" y="131752"/>
                    <a:pt x="495589" y="126118"/>
                  </a:cubicBezTo>
                  <a:cubicBezTo>
                    <a:pt x="497657" y="121768"/>
                    <a:pt x="498691" y="115349"/>
                    <a:pt x="498691" y="106863"/>
                  </a:cubicBezTo>
                  <a:close/>
                  <a:moveTo>
                    <a:pt x="250306" y="56587"/>
                  </a:moveTo>
                  <a:cubicBezTo>
                    <a:pt x="241748" y="56587"/>
                    <a:pt x="234474" y="60064"/>
                    <a:pt x="228484" y="67017"/>
                  </a:cubicBezTo>
                  <a:cubicBezTo>
                    <a:pt x="222494" y="73970"/>
                    <a:pt x="219499" y="84292"/>
                    <a:pt x="219499" y="97985"/>
                  </a:cubicBezTo>
                  <a:cubicBezTo>
                    <a:pt x="219499" y="112889"/>
                    <a:pt x="222458" y="123764"/>
                    <a:pt x="228377" y="130611"/>
                  </a:cubicBezTo>
                  <a:cubicBezTo>
                    <a:pt x="234296" y="137457"/>
                    <a:pt x="241713" y="140880"/>
                    <a:pt x="250627" y="140880"/>
                  </a:cubicBezTo>
                  <a:cubicBezTo>
                    <a:pt x="259470" y="140880"/>
                    <a:pt x="266886" y="137474"/>
                    <a:pt x="272877" y="130664"/>
                  </a:cubicBezTo>
                  <a:cubicBezTo>
                    <a:pt x="278867" y="123854"/>
                    <a:pt x="281862" y="113174"/>
                    <a:pt x="281862" y="98626"/>
                  </a:cubicBezTo>
                  <a:cubicBezTo>
                    <a:pt x="281862" y="84720"/>
                    <a:pt x="278778" y="74237"/>
                    <a:pt x="272609" y="67177"/>
                  </a:cubicBezTo>
                  <a:cubicBezTo>
                    <a:pt x="266441" y="60117"/>
                    <a:pt x="259006" y="56587"/>
                    <a:pt x="250306" y="56587"/>
                  </a:cubicBezTo>
                  <a:close/>
                  <a:moveTo>
                    <a:pt x="321497" y="43216"/>
                  </a:moveTo>
                  <a:lnTo>
                    <a:pt x="340752" y="43216"/>
                  </a:lnTo>
                  <a:lnTo>
                    <a:pt x="340752" y="156818"/>
                  </a:lnTo>
                  <a:lnTo>
                    <a:pt x="321497" y="156818"/>
                  </a:lnTo>
                  <a:close/>
                  <a:moveTo>
                    <a:pt x="159572" y="43216"/>
                  </a:moveTo>
                  <a:lnTo>
                    <a:pt x="178827" y="43216"/>
                  </a:lnTo>
                  <a:lnTo>
                    <a:pt x="178827" y="156818"/>
                  </a:lnTo>
                  <a:lnTo>
                    <a:pt x="159572" y="156818"/>
                  </a:lnTo>
                  <a:close/>
                  <a:moveTo>
                    <a:pt x="474195" y="40649"/>
                  </a:moveTo>
                  <a:cubicBezTo>
                    <a:pt x="483893" y="40649"/>
                    <a:pt x="491774" y="41790"/>
                    <a:pt x="497835" y="44072"/>
                  </a:cubicBezTo>
                  <a:cubicBezTo>
                    <a:pt x="503897" y="46354"/>
                    <a:pt x="508354" y="49224"/>
                    <a:pt x="511206" y="52683"/>
                  </a:cubicBezTo>
                  <a:cubicBezTo>
                    <a:pt x="514059" y="56141"/>
                    <a:pt x="516056" y="60509"/>
                    <a:pt x="517197" y="65787"/>
                  </a:cubicBezTo>
                  <a:cubicBezTo>
                    <a:pt x="517839" y="69067"/>
                    <a:pt x="518160" y="74986"/>
                    <a:pt x="518160" y="83544"/>
                  </a:cubicBezTo>
                  <a:lnTo>
                    <a:pt x="518160" y="109216"/>
                  </a:lnTo>
                  <a:cubicBezTo>
                    <a:pt x="518160" y="127116"/>
                    <a:pt x="518570" y="138437"/>
                    <a:pt x="519390" y="143180"/>
                  </a:cubicBezTo>
                  <a:cubicBezTo>
                    <a:pt x="520210" y="147922"/>
                    <a:pt x="521832" y="152468"/>
                    <a:pt x="524257" y="156818"/>
                  </a:cubicBezTo>
                  <a:lnTo>
                    <a:pt x="504146" y="156818"/>
                  </a:lnTo>
                  <a:cubicBezTo>
                    <a:pt x="502150" y="152825"/>
                    <a:pt x="500866" y="148154"/>
                    <a:pt x="500295" y="142805"/>
                  </a:cubicBezTo>
                  <a:cubicBezTo>
                    <a:pt x="493164" y="148867"/>
                    <a:pt x="486300" y="153146"/>
                    <a:pt x="479704" y="155642"/>
                  </a:cubicBezTo>
                  <a:cubicBezTo>
                    <a:pt x="473107" y="158138"/>
                    <a:pt x="466029" y="159386"/>
                    <a:pt x="458470" y="159386"/>
                  </a:cubicBezTo>
                  <a:cubicBezTo>
                    <a:pt x="445990" y="159386"/>
                    <a:pt x="436399" y="156337"/>
                    <a:pt x="429695" y="150240"/>
                  </a:cubicBezTo>
                  <a:cubicBezTo>
                    <a:pt x="422992" y="144142"/>
                    <a:pt x="419640" y="136351"/>
                    <a:pt x="419640" y="126867"/>
                  </a:cubicBezTo>
                  <a:cubicBezTo>
                    <a:pt x="419640" y="121304"/>
                    <a:pt x="420906" y="116223"/>
                    <a:pt x="423437" y="111623"/>
                  </a:cubicBezTo>
                  <a:cubicBezTo>
                    <a:pt x="425969" y="107024"/>
                    <a:pt x="429285" y="103333"/>
                    <a:pt x="433386" y="100552"/>
                  </a:cubicBezTo>
                  <a:cubicBezTo>
                    <a:pt x="437486" y="97771"/>
                    <a:pt x="442104" y="95667"/>
                    <a:pt x="447238" y="94241"/>
                  </a:cubicBezTo>
                  <a:cubicBezTo>
                    <a:pt x="451018" y="93242"/>
                    <a:pt x="456723" y="92280"/>
                    <a:pt x="464353" y="91352"/>
                  </a:cubicBezTo>
                  <a:cubicBezTo>
                    <a:pt x="479900" y="89498"/>
                    <a:pt x="491346" y="87288"/>
                    <a:pt x="498691" y="84720"/>
                  </a:cubicBezTo>
                  <a:cubicBezTo>
                    <a:pt x="498762" y="82082"/>
                    <a:pt x="498798" y="80406"/>
                    <a:pt x="498798" y="79693"/>
                  </a:cubicBezTo>
                  <a:cubicBezTo>
                    <a:pt x="498798" y="71848"/>
                    <a:pt x="496979" y="66321"/>
                    <a:pt x="493342" y="63112"/>
                  </a:cubicBezTo>
                  <a:cubicBezTo>
                    <a:pt x="488422" y="58762"/>
                    <a:pt x="481112" y="56587"/>
                    <a:pt x="471414" y="56587"/>
                  </a:cubicBezTo>
                  <a:cubicBezTo>
                    <a:pt x="462357" y="56587"/>
                    <a:pt x="455671" y="58174"/>
                    <a:pt x="451357" y="61347"/>
                  </a:cubicBezTo>
                  <a:cubicBezTo>
                    <a:pt x="447042" y="64521"/>
                    <a:pt x="443851" y="70137"/>
                    <a:pt x="441783" y="78195"/>
                  </a:cubicBezTo>
                  <a:lnTo>
                    <a:pt x="422956" y="75628"/>
                  </a:lnTo>
                  <a:cubicBezTo>
                    <a:pt x="424668" y="67569"/>
                    <a:pt x="427484" y="61062"/>
                    <a:pt x="431407" y="56106"/>
                  </a:cubicBezTo>
                  <a:cubicBezTo>
                    <a:pt x="435329" y="51150"/>
                    <a:pt x="440998" y="47334"/>
                    <a:pt x="448415" y="44660"/>
                  </a:cubicBezTo>
                  <a:cubicBezTo>
                    <a:pt x="455832" y="41986"/>
                    <a:pt x="464425" y="40649"/>
                    <a:pt x="474195" y="40649"/>
                  </a:cubicBezTo>
                  <a:close/>
                  <a:moveTo>
                    <a:pt x="248915" y="40649"/>
                  </a:moveTo>
                  <a:cubicBezTo>
                    <a:pt x="262322" y="40649"/>
                    <a:pt x="273376" y="46068"/>
                    <a:pt x="282076" y="56908"/>
                  </a:cubicBezTo>
                  <a:lnTo>
                    <a:pt x="282076" y="43216"/>
                  </a:lnTo>
                  <a:lnTo>
                    <a:pt x="299833" y="43216"/>
                  </a:lnTo>
                  <a:lnTo>
                    <a:pt x="299833" y="141415"/>
                  </a:lnTo>
                  <a:cubicBezTo>
                    <a:pt x="299833" y="159100"/>
                    <a:pt x="298033" y="171634"/>
                    <a:pt x="294431" y="179015"/>
                  </a:cubicBezTo>
                  <a:cubicBezTo>
                    <a:pt x="290830" y="186396"/>
                    <a:pt x="285125" y="192225"/>
                    <a:pt x="277316" y="196504"/>
                  </a:cubicBezTo>
                  <a:cubicBezTo>
                    <a:pt x="269507" y="200783"/>
                    <a:pt x="259898" y="202922"/>
                    <a:pt x="248488" y="202922"/>
                  </a:cubicBezTo>
                  <a:cubicBezTo>
                    <a:pt x="234938" y="202922"/>
                    <a:pt x="223991" y="199874"/>
                    <a:pt x="215648" y="193776"/>
                  </a:cubicBezTo>
                  <a:cubicBezTo>
                    <a:pt x="207304" y="187679"/>
                    <a:pt x="203275" y="178498"/>
                    <a:pt x="203560" y="166232"/>
                  </a:cubicBezTo>
                  <a:lnTo>
                    <a:pt x="222280" y="169013"/>
                  </a:lnTo>
                  <a:cubicBezTo>
                    <a:pt x="223064" y="174789"/>
                    <a:pt x="225239" y="178997"/>
                    <a:pt x="228805" y="181635"/>
                  </a:cubicBezTo>
                  <a:cubicBezTo>
                    <a:pt x="233583" y="185201"/>
                    <a:pt x="240108" y="186984"/>
                    <a:pt x="248381" y="186984"/>
                  </a:cubicBezTo>
                  <a:cubicBezTo>
                    <a:pt x="257295" y="186984"/>
                    <a:pt x="264177" y="185201"/>
                    <a:pt x="269026" y="181635"/>
                  </a:cubicBezTo>
                  <a:cubicBezTo>
                    <a:pt x="273875" y="178070"/>
                    <a:pt x="277156" y="173078"/>
                    <a:pt x="278867" y="166660"/>
                  </a:cubicBezTo>
                  <a:cubicBezTo>
                    <a:pt x="279866" y="162737"/>
                    <a:pt x="280329" y="154501"/>
                    <a:pt x="280258" y="141949"/>
                  </a:cubicBezTo>
                  <a:cubicBezTo>
                    <a:pt x="271843" y="151862"/>
                    <a:pt x="261360" y="156818"/>
                    <a:pt x="248809" y="156818"/>
                  </a:cubicBezTo>
                  <a:cubicBezTo>
                    <a:pt x="233191" y="156818"/>
                    <a:pt x="221103" y="151184"/>
                    <a:pt x="212546" y="139917"/>
                  </a:cubicBezTo>
                  <a:cubicBezTo>
                    <a:pt x="203988" y="128649"/>
                    <a:pt x="199709" y="115136"/>
                    <a:pt x="199709" y="99375"/>
                  </a:cubicBezTo>
                  <a:cubicBezTo>
                    <a:pt x="199709" y="88536"/>
                    <a:pt x="201670" y="78534"/>
                    <a:pt x="205593" y="69370"/>
                  </a:cubicBezTo>
                  <a:cubicBezTo>
                    <a:pt x="209515" y="60206"/>
                    <a:pt x="215202" y="53128"/>
                    <a:pt x="222654" y="48137"/>
                  </a:cubicBezTo>
                  <a:cubicBezTo>
                    <a:pt x="230107" y="43145"/>
                    <a:pt x="238860" y="40649"/>
                    <a:pt x="248915" y="40649"/>
                  </a:cubicBezTo>
                  <a:close/>
                  <a:moveTo>
                    <a:pt x="20753" y="18506"/>
                  </a:moveTo>
                  <a:lnTo>
                    <a:pt x="20753" y="138312"/>
                  </a:lnTo>
                  <a:lnTo>
                    <a:pt x="54234" y="138312"/>
                  </a:lnTo>
                  <a:cubicBezTo>
                    <a:pt x="64575" y="138312"/>
                    <a:pt x="72687" y="137350"/>
                    <a:pt x="78570" y="135424"/>
                  </a:cubicBezTo>
                  <a:cubicBezTo>
                    <a:pt x="84453" y="133499"/>
                    <a:pt x="89142" y="130789"/>
                    <a:pt x="92637" y="127294"/>
                  </a:cubicBezTo>
                  <a:cubicBezTo>
                    <a:pt x="97557" y="122374"/>
                    <a:pt x="101390" y="115760"/>
                    <a:pt x="104136" y="107451"/>
                  </a:cubicBezTo>
                  <a:cubicBezTo>
                    <a:pt x="106881" y="99143"/>
                    <a:pt x="108254" y="89070"/>
                    <a:pt x="108254" y="77232"/>
                  </a:cubicBezTo>
                  <a:cubicBezTo>
                    <a:pt x="108254" y="60830"/>
                    <a:pt x="105562" y="48226"/>
                    <a:pt x="100178" y="39418"/>
                  </a:cubicBezTo>
                  <a:cubicBezTo>
                    <a:pt x="94794" y="30611"/>
                    <a:pt x="88251" y="24710"/>
                    <a:pt x="80549" y="21715"/>
                  </a:cubicBezTo>
                  <a:cubicBezTo>
                    <a:pt x="74987" y="19575"/>
                    <a:pt x="66037" y="18506"/>
                    <a:pt x="53699" y="18506"/>
                  </a:cubicBezTo>
                  <a:close/>
                  <a:moveTo>
                    <a:pt x="391693" y="3530"/>
                  </a:moveTo>
                  <a:lnTo>
                    <a:pt x="391693" y="43216"/>
                  </a:lnTo>
                  <a:lnTo>
                    <a:pt x="411054" y="43216"/>
                  </a:lnTo>
                  <a:lnTo>
                    <a:pt x="411054" y="58192"/>
                  </a:lnTo>
                  <a:lnTo>
                    <a:pt x="391693" y="58192"/>
                  </a:lnTo>
                  <a:lnTo>
                    <a:pt x="391693" y="124620"/>
                  </a:lnTo>
                  <a:cubicBezTo>
                    <a:pt x="391693" y="130111"/>
                    <a:pt x="392032" y="133641"/>
                    <a:pt x="392709" y="135210"/>
                  </a:cubicBezTo>
                  <a:cubicBezTo>
                    <a:pt x="393387" y="136779"/>
                    <a:pt x="394492" y="138027"/>
                    <a:pt x="396025" y="138954"/>
                  </a:cubicBezTo>
                  <a:cubicBezTo>
                    <a:pt x="397558" y="139881"/>
                    <a:pt x="399751" y="140345"/>
                    <a:pt x="402604" y="140345"/>
                  </a:cubicBezTo>
                  <a:cubicBezTo>
                    <a:pt x="404743" y="140345"/>
                    <a:pt x="407560" y="140095"/>
                    <a:pt x="411054" y="139596"/>
                  </a:cubicBezTo>
                  <a:lnTo>
                    <a:pt x="413836" y="156604"/>
                  </a:lnTo>
                  <a:cubicBezTo>
                    <a:pt x="408416" y="157745"/>
                    <a:pt x="403566" y="158316"/>
                    <a:pt x="399288" y="158316"/>
                  </a:cubicBezTo>
                  <a:cubicBezTo>
                    <a:pt x="392299" y="158316"/>
                    <a:pt x="386879" y="157210"/>
                    <a:pt x="383028" y="155000"/>
                  </a:cubicBezTo>
                  <a:cubicBezTo>
                    <a:pt x="379177" y="152789"/>
                    <a:pt x="376467" y="149883"/>
                    <a:pt x="374898" y="146282"/>
                  </a:cubicBezTo>
                  <a:cubicBezTo>
                    <a:pt x="373330" y="142680"/>
                    <a:pt x="372545" y="135103"/>
                    <a:pt x="372545" y="123551"/>
                  </a:cubicBezTo>
                  <a:lnTo>
                    <a:pt x="372545" y="58192"/>
                  </a:lnTo>
                  <a:lnTo>
                    <a:pt x="358425" y="58192"/>
                  </a:lnTo>
                  <a:lnTo>
                    <a:pt x="358425" y="43216"/>
                  </a:lnTo>
                  <a:lnTo>
                    <a:pt x="372545" y="43216"/>
                  </a:lnTo>
                  <a:lnTo>
                    <a:pt x="372545" y="15083"/>
                  </a:lnTo>
                  <a:close/>
                  <a:moveTo>
                    <a:pt x="549562" y="0"/>
                  </a:moveTo>
                  <a:lnTo>
                    <a:pt x="568817" y="0"/>
                  </a:lnTo>
                  <a:lnTo>
                    <a:pt x="568817" y="156818"/>
                  </a:lnTo>
                  <a:lnTo>
                    <a:pt x="549562" y="156818"/>
                  </a:lnTo>
                  <a:close/>
                  <a:moveTo>
                    <a:pt x="321497" y="0"/>
                  </a:moveTo>
                  <a:lnTo>
                    <a:pt x="340752" y="0"/>
                  </a:lnTo>
                  <a:lnTo>
                    <a:pt x="340752" y="22143"/>
                  </a:lnTo>
                  <a:lnTo>
                    <a:pt x="321497" y="22143"/>
                  </a:lnTo>
                  <a:close/>
                  <a:moveTo>
                    <a:pt x="159572" y="0"/>
                  </a:moveTo>
                  <a:lnTo>
                    <a:pt x="178827" y="0"/>
                  </a:lnTo>
                  <a:lnTo>
                    <a:pt x="178827" y="22143"/>
                  </a:lnTo>
                  <a:lnTo>
                    <a:pt x="159572" y="22143"/>
                  </a:lnTo>
                  <a:close/>
                  <a:moveTo>
                    <a:pt x="0" y="0"/>
                  </a:moveTo>
                  <a:lnTo>
                    <a:pt x="54020" y="0"/>
                  </a:lnTo>
                  <a:cubicBezTo>
                    <a:pt x="66215" y="0"/>
                    <a:pt x="75521" y="749"/>
                    <a:pt x="81940" y="2246"/>
                  </a:cubicBezTo>
                  <a:cubicBezTo>
                    <a:pt x="90925" y="4314"/>
                    <a:pt x="98591" y="8058"/>
                    <a:pt x="104938" y="13478"/>
                  </a:cubicBezTo>
                  <a:cubicBezTo>
                    <a:pt x="113211" y="20467"/>
                    <a:pt x="119397" y="29399"/>
                    <a:pt x="123498" y="40274"/>
                  </a:cubicBezTo>
                  <a:cubicBezTo>
                    <a:pt x="127598" y="51150"/>
                    <a:pt x="129648" y="63576"/>
                    <a:pt x="129648" y="77553"/>
                  </a:cubicBezTo>
                  <a:cubicBezTo>
                    <a:pt x="129648" y="89463"/>
                    <a:pt x="128258" y="100017"/>
                    <a:pt x="125476" y="109216"/>
                  </a:cubicBezTo>
                  <a:cubicBezTo>
                    <a:pt x="122695" y="118416"/>
                    <a:pt x="119130" y="126029"/>
                    <a:pt x="114779" y="132055"/>
                  </a:cubicBezTo>
                  <a:cubicBezTo>
                    <a:pt x="110429" y="138081"/>
                    <a:pt x="105669" y="142823"/>
                    <a:pt x="100499" y="146282"/>
                  </a:cubicBezTo>
                  <a:cubicBezTo>
                    <a:pt x="95329" y="149740"/>
                    <a:pt x="89089" y="152361"/>
                    <a:pt x="81779" y="154144"/>
                  </a:cubicBezTo>
                  <a:cubicBezTo>
                    <a:pt x="74470" y="155927"/>
                    <a:pt x="66072" y="156818"/>
                    <a:pt x="56588" y="156818"/>
                  </a:cubicBezTo>
                  <a:lnTo>
                    <a:pt x="0" y="156818"/>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0" indent="0" algn="l" defTabSz="1193860" rtl="0" eaLnBrk="1" fontAlgn="base" hangingPunct="1">
                <a:spcBef>
                  <a:spcPct val="0"/>
                </a:spcBef>
                <a:spcAft>
                  <a:spcPct val="0"/>
                </a:spcAft>
                <a:buClr>
                  <a:schemeClr val="tx2"/>
                </a:buClr>
                <a:defRPr sz="1700" kern="1200" baseline="0">
                  <a:solidFill>
                    <a:schemeClr val="tx1"/>
                  </a:solidFill>
                  <a:latin typeface="Arial" panose="020B0604020202020204" pitchFamily="34" charset="0"/>
                  <a:ea typeface="+mn-ea"/>
                  <a:cs typeface="Arial" panose="020B0604020202020204" pitchFamily="34" charset="0"/>
                </a:defRPr>
              </a:lvl1pPr>
              <a:lvl2pPr marL="180000" indent="-180000" algn="l" defTabSz="119386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360000" indent="-180000" algn="l" defTabSz="119386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540000" indent="-180000" algn="l" defTabSz="1193860" rtl="0" eaLnBrk="1" fontAlgn="base" hangingPunct="1">
                <a:spcBef>
                  <a:spcPct val="0"/>
                </a:spcBef>
                <a:spcAft>
                  <a:spcPct val="0"/>
                </a:spcAft>
                <a:buClr>
                  <a:schemeClr val="tx2"/>
                </a:buClr>
                <a:buSzPct val="120000"/>
                <a:buFont typeface="Arial" pitchFamily="34" charset="0"/>
                <a:buChar char="◦"/>
                <a:defRPr sz="1600" baseline="0">
                  <a:solidFill>
                    <a:schemeClr val="tx1"/>
                  </a:solidFill>
                  <a:latin typeface="+mn-lt"/>
                </a:defRPr>
              </a:lvl4pPr>
              <a:lvl5pPr marL="720000" indent="-180000" algn="l" defTabSz="119386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a:lstStyle>
            <a:p>
              <a:endParaRPr lang="fr-FR" sz="1735" dirty="0">
                <a:solidFill>
                  <a:srgbClr val="FFC000"/>
                </a:solidFill>
                <a:latin typeface="+mn-lt"/>
                <a:ea typeface="+mn-ea"/>
                <a:cs typeface="+mn-cs"/>
                <a:sym typeface="+mn-lt"/>
              </a:endParaRPr>
            </a:p>
          </p:txBody>
        </p:sp>
      </p:grpSp>
    </p:spTree>
    <p:extLst>
      <p:ext uri="{BB962C8B-B14F-4D97-AF65-F5344CB8AC3E}">
        <p14:creationId xmlns:p14="http://schemas.microsoft.com/office/powerpoint/2010/main" val="13518385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3084"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952351-D74E-49A0-95C2-42E9250C9F63}"/>
              </a:ext>
            </a:extLst>
          </p:cNvPr>
          <p:cNvSpPr/>
          <p:nvPr userDrawn="1">
            <p:custDataLst>
              <p:tags r:id="rId3"/>
            </p:custDataLst>
          </p:nvPr>
        </p:nvSpPr>
        <p:spPr>
          <a:xfrm>
            <a:off x="0" y="0"/>
            <a:ext cx="161977" cy="161974"/>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2449" b="1" i="0" baseline="0" dirty="0">
              <a:solidFill>
                <a:schemeClr val="tx1"/>
              </a:solidFill>
              <a:latin typeface="Arial Narrow" panose="020B0606020202030204" pitchFamily="34" charset="0"/>
              <a:ea typeface="ＭＳ Ｐゴシック" panose="020B0600070205080204" pitchFamily="34" charset="-128"/>
              <a:cs typeface="+mj-cs"/>
              <a:sym typeface="Arial Narrow" panose="020B0606020202030204" pitchFamily="34" charset="0"/>
            </a:endParaRPr>
          </a:p>
        </p:txBody>
      </p:sp>
      <p:sp>
        <p:nvSpPr>
          <p:cNvPr id="6" name="Title Placeholder 2">
            <a:extLst>
              <a:ext uri="{FF2B5EF4-FFF2-40B4-BE49-F238E27FC236}">
                <a16:creationId xmlns:a16="http://schemas.microsoft.com/office/drawing/2014/main" id="{4F196020-4F4C-4345-AFB2-5AAB593B6EA9}"/>
              </a:ext>
            </a:extLst>
          </p:cNvPr>
          <p:cNvSpPr>
            <a:spLocks noGrp="1" noChangeArrowheads="1"/>
          </p:cNvSpPr>
          <p:nvPr>
            <p:ph type="title"/>
          </p:nvPr>
        </p:nvSpPr>
        <p:spPr bwMode="gray">
          <a:xfrm>
            <a:off x="233259" y="283037"/>
            <a:ext cx="10514384"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a:latin typeface="+mj-lt"/>
                <a:ea typeface="+mj-ea"/>
                <a:cs typeface="+mj-cs"/>
                <a:sym typeface="+mj-lt"/>
              </a:defRPr>
            </a:lvl1pPr>
          </a:lstStyle>
          <a:p>
            <a:pPr lvl="0"/>
            <a:r>
              <a:rPr lang="fr-FR" noProof="0" dirty="0"/>
              <a:t>Click to </a:t>
            </a:r>
            <a:r>
              <a:rPr lang="fr-FR" noProof="0" dirty="0" err="1"/>
              <a:t>edit</a:t>
            </a:r>
            <a:r>
              <a:rPr lang="fr-FR" noProof="0" dirty="0"/>
              <a:t> Master </a:t>
            </a:r>
            <a:r>
              <a:rPr lang="fr-FR" noProof="0" dirty="0" err="1"/>
              <a:t>title</a:t>
            </a:r>
            <a:r>
              <a:rPr lang="fr-FR" noProof="0" dirty="0"/>
              <a:t> style</a:t>
            </a:r>
          </a:p>
        </p:txBody>
      </p:sp>
    </p:spTree>
    <p:extLst>
      <p:ext uri="{BB962C8B-B14F-4D97-AF65-F5344CB8AC3E}">
        <p14:creationId xmlns:p14="http://schemas.microsoft.com/office/powerpoint/2010/main" val="11682221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108" name="think-cell Slide" r:id="rId5" imgW="359" imgH="358" progId="TCLayout.ActiveDocument.1">
                  <p:embed/>
                </p:oleObj>
              </mc:Choice>
              <mc:Fallback>
                <p:oleObj name="think-cell Slide" r:id="rId5" imgW="359" imgH="358" progId="TCLayout.ActiveDocument.1">
                  <p:embed/>
                  <p:pic>
                    <p:nvPicPr>
                      <p:cNvPr id="2" name="Object 1" hidden="1"/>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952351-D74E-49A0-95C2-42E9250C9F63}"/>
              </a:ext>
            </a:extLst>
          </p:cNvPr>
          <p:cNvSpPr/>
          <p:nvPr userDrawn="1">
            <p:custDataLst>
              <p:tags r:id="rId3"/>
            </p:custDataLst>
          </p:nvPr>
        </p:nvSpPr>
        <p:spPr>
          <a:xfrm>
            <a:off x="0" y="0"/>
            <a:ext cx="161977" cy="161974"/>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2449" b="1" i="0" baseline="0" dirty="0">
              <a:solidFill>
                <a:schemeClr val="tx1"/>
              </a:solidFill>
              <a:latin typeface="Arial Narrow" panose="020B0606020202030204" pitchFamily="34" charset="0"/>
              <a:ea typeface="ＭＳ Ｐゴシック" panose="020B0600070205080204" pitchFamily="34" charset="-128"/>
              <a:cs typeface="+mj-cs"/>
              <a:sym typeface="Arial Narrow" panose="020B0606020202030204" pitchFamily="34" charset="0"/>
            </a:endParaRPr>
          </a:p>
        </p:txBody>
      </p:sp>
      <p:grpSp>
        <p:nvGrpSpPr>
          <p:cNvPr id="5" name="Group 4">
            <a:extLst>
              <a:ext uri="{FF2B5EF4-FFF2-40B4-BE49-F238E27FC236}">
                <a16:creationId xmlns:a16="http://schemas.microsoft.com/office/drawing/2014/main" id="{D6C99B71-443F-4A28-8612-FCBA7B686D7E}"/>
              </a:ext>
            </a:extLst>
          </p:cNvPr>
          <p:cNvGrpSpPr/>
          <p:nvPr userDrawn="1"/>
        </p:nvGrpSpPr>
        <p:grpSpPr>
          <a:xfrm>
            <a:off x="4131933" y="1394357"/>
            <a:ext cx="8060067" cy="5463644"/>
            <a:chOff x="4292415" y="939230"/>
            <a:chExt cx="7899496" cy="5354877"/>
          </a:xfrm>
        </p:grpSpPr>
        <p:pic>
          <p:nvPicPr>
            <p:cNvPr id="7" name="Picture 2" descr="http://www.gomediazine.com/wp-content/images/2009/04/movement_dramatic.jpg">
              <a:extLst>
                <a:ext uri="{FF2B5EF4-FFF2-40B4-BE49-F238E27FC236}">
                  <a16:creationId xmlns:a16="http://schemas.microsoft.com/office/drawing/2014/main" id="{ECF47C8E-1713-46FB-9C8D-EA00845E7CF6}"/>
                </a:ext>
              </a:extLst>
            </p:cNvPr>
            <p:cNvPicPr>
              <a:picLocks noChangeArrowheads="1"/>
            </p:cNvPicPr>
            <p:nvPr/>
          </p:nvPicPr>
          <p:blipFill>
            <a:blip r:embed="rId7">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4292415" y="939230"/>
              <a:ext cx="7899496" cy="535487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F626A16-FB0F-4E5B-9136-0D1BC59B0F58}"/>
                </a:ext>
              </a:extLst>
            </p:cNvPr>
            <p:cNvSpPr>
              <a:spLocks/>
            </p:cNvSpPr>
            <p:nvPr/>
          </p:nvSpPr>
          <p:spPr>
            <a:xfrm>
              <a:off x="4292415" y="939230"/>
              <a:ext cx="7899496" cy="5354877"/>
            </a:xfrm>
            <a:prstGeom prst="rect">
              <a:avLst/>
            </a:prstGeom>
            <a:solidFill>
              <a:schemeClr val="bg1">
                <a:alpha val="78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49" dirty="0">
                <a:solidFill>
                  <a:schemeClr val="tx1"/>
                </a:solidFill>
              </a:endParaRPr>
            </a:p>
          </p:txBody>
        </p:sp>
      </p:grpSp>
      <p:sp>
        <p:nvSpPr>
          <p:cNvPr id="6" name="Title Placeholder 2">
            <a:extLst>
              <a:ext uri="{FF2B5EF4-FFF2-40B4-BE49-F238E27FC236}">
                <a16:creationId xmlns:a16="http://schemas.microsoft.com/office/drawing/2014/main" id="{4F196020-4F4C-4345-AFB2-5AAB593B6EA9}"/>
              </a:ext>
            </a:extLst>
          </p:cNvPr>
          <p:cNvSpPr>
            <a:spLocks noGrp="1" noChangeArrowheads="1"/>
          </p:cNvSpPr>
          <p:nvPr>
            <p:ph type="title"/>
          </p:nvPr>
        </p:nvSpPr>
        <p:spPr bwMode="gray">
          <a:xfrm>
            <a:off x="233259" y="283037"/>
            <a:ext cx="10514384"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defRPr>
                <a:latin typeface="+mj-lt"/>
                <a:ea typeface="+mj-ea"/>
                <a:cs typeface="+mj-cs"/>
                <a:sym typeface="+mj-lt"/>
              </a:defRPr>
            </a:lvl1pPr>
          </a:lstStyle>
          <a:p>
            <a:pPr lvl="0"/>
            <a:r>
              <a:rPr lang="fr-FR" noProof="0" dirty="0"/>
              <a:t>Click to </a:t>
            </a:r>
            <a:r>
              <a:rPr lang="fr-FR" noProof="0" dirty="0" err="1"/>
              <a:t>edit</a:t>
            </a:r>
            <a:r>
              <a:rPr lang="fr-FR" noProof="0" dirty="0"/>
              <a:t> Master </a:t>
            </a:r>
            <a:r>
              <a:rPr lang="fr-FR" noProof="0" dirty="0" err="1"/>
              <a:t>title</a:t>
            </a:r>
            <a:r>
              <a:rPr lang="fr-FR" noProof="0" dirty="0"/>
              <a:t> style</a:t>
            </a:r>
          </a:p>
        </p:txBody>
      </p:sp>
      <p:sp>
        <p:nvSpPr>
          <p:cNvPr id="9" name="pg number">
            <a:extLst>
              <a:ext uri="{FF2B5EF4-FFF2-40B4-BE49-F238E27FC236}">
                <a16:creationId xmlns:a16="http://schemas.microsoft.com/office/drawing/2014/main" id="{749EB0A4-BC07-4BC1-88AD-30A9A7E9D227}"/>
              </a:ext>
            </a:extLst>
          </p:cNvPr>
          <p:cNvSpPr>
            <a:spLocks/>
          </p:cNvSpPr>
          <p:nvPr userDrawn="1"/>
        </p:nvSpPr>
        <p:spPr bwMode="gray">
          <a:xfrm>
            <a:off x="11793549" y="6544785"/>
            <a:ext cx="165194" cy="160154"/>
          </a:xfrm>
          <a:prstGeom prst="rect">
            <a:avLst/>
          </a:prstGeom>
        </p:spPr>
        <p:txBody>
          <a:bodyPr vert="horz" wrap="none" lIns="0" tIns="0" rIns="0" bIns="0" rtlCol="0" anchor="ctr">
            <a:spAutoFit/>
          </a:bodyPr>
          <a:lstStyle/>
          <a:p>
            <a:pPr lvl="0" algn="r"/>
            <a:fld id="{42C328C1-A84F-4A39-A664-DBA00541A8C6}" type="slidenum">
              <a:rPr lang="fr-FR" sz="1020" noProof="0" smtClean="0">
                <a:latin typeface="+mn-lt"/>
                <a:ea typeface="+mn-ea"/>
                <a:cs typeface="+mn-cs"/>
                <a:sym typeface="+mn-lt"/>
              </a:rPr>
              <a:pPr lvl="0" algn="r"/>
              <a:t>‹N°›</a:t>
            </a:fld>
            <a:endParaRPr lang="fr-FR" sz="1020" baseline="0" noProof="0" dirty="0">
              <a:solidFill>
                <a:schemeClr val="tx1"/>
              </a:solidFill>
              <a:latin typeface="+mn-lt"/>
              <a:ea typeface="+mn-ea"/>
              <a:cs typeface="+mn-cs"/>
              <a:sym typeface="+mn-lt"/>
            </a:endParaRPr>
          </a:p>
        </p:txBody>
      </p:sp>
    </p:spTree>
    <p:extLst>
      <p:ext uri="{BB962C8B-B14F-4D97-AF65-F5344CB8AC3E}">
        <p14:creationId xmlns:p14="http://schemas.microsoft.com/office/powerpoint/2010/main" val="27785757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5C9D526-BAFA-43A4-A626-2BB7523BAF67}"/>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5132"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C5C9D526-BAFA-43A4-A626-2BB7523BAF67}"/>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2306CEE-ACAA-4C31-A846-8F291FC63FA7}"/>
              </a:ext>
            </a:extLst>
          </p:cNvPr>
          <p:cNvSpPr/>
          <p:nvPr userDrawn="1">
            <p:custDataLst>
              <p:tags r:id="rId3"/>
            </p:custDataLst>
          </p:nvPr>
        </p:nvSpPr>
        <p:spPr>
          <a:xfrm>
            <a:off x="0" y="0"/>
            <a:ext cx="161977" cy="161974"/>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2449" b="1" i="0" baseline="0" dirty="0">
              <a:solidFill>
                <a:schemeClr val="tx1"/>
              </a:solidFill>
              <a:latin typeface="Arial Narrow" panose="020B0606020202030204" pitchFamily="34" charset="0"/>
              <a:ea typeface="ＭＳ Ｐゴシック" panose="020B0600070205080204" pitchFamily="34" charset="-128"/>
              <a:cs typeface="+mj-cs"/>
              <a:sym typeface="Arial Narrow" panose="020B0606020202030204" pitchFamily="34" charset="0"/>
            </a:endParaRPr>
          </a:p>
        </p:txBody>
      </p:sp>
      <p:sp>
        <p:nvSpPr>
          <p:cNvPr id="2" name="Title 1">
            <a:extLst>
              <a:ext uri="{FF2B5EF4-FFF2-40B4-BE49-F238E27FC236}">
                <a16:creationId xmlns:a16="http://schemas.microsoft.com/office/drawing/2014/main" id="{935929F4-DA41-4C80-A1E7-863350266299}"/>
              </a:ext>
            </a:extLst>
          </p:cNvPr>
          <p:cNvSpPr>
            <a:spLocks noGrp="1"/>
          </p:cNvSpPr>
          <p:nvPr>
            <p:ph type="title"/>
          </p:nvPr>
        </p:nvSpPr>
        <p:spPr/>
        <p:txBody>
          <a:bodyPr/>
          <a:lstStyle/>
          <a:p>
            <a:r>
              <a:rPr lang="fr-FR" dirty="0"/>
              <a:t>Click to </a:t>
            </a:r>
            <a:r>
              <a:rPr lang="fr-FR" dirty="0" err="1"/>
              <a:t>edit</a:t>
            </a:r>
            <a:r>
              <a:rPr lang="fr-FR" dirty="0"/>
              <a:t> Master </a:t>
            </a:r>
            <a:r>
              <a:rPr lang="fr-FR" dirty="0" err="1"/>
              <a:t>title</a:t>
            </a:r>
            <a:r>
              <a:rPr lang="fr-FR" dirty="0"/>
              <a:t> style</a:t>
            </a:r>
          </a:p>
        </p:txBody>
      </p:sp>
      <p:sp>
        <p:nvSpPr>
          <p:cNvPr id="3" name="Content Placeholder 2">
            <a:extLst>
              <a:ext uri="{FF2B5EF4-FFF2-40B4-BE49-F238E27FC236}">
                <a16:creationId xmlns:a16="http://schemas.microsoft.com/office/drawing/2014/main" id="{8DB89D43-82F9-4EC3-9D8A-17105D78E5A0}"/>
              </a:ext>
            </a:extLst>
          </p:cNvPr>
          <p:cNvSpPr>
            <a:spLocks noGrp="1"/>
          </p:cNvSpPr>
          <p:nvPr>
            <p:ph idx="1"/>
          </p:nvPr>
        </p:nvSpPr>
        <p:spPr/>
        <p:txBody>
          <a:bodyPr/>
          <a:lstStyle/>
          <a:p>
            <a:pPr lvl="0"/>
            <a:r>
              <a:rPr lang="fr-FR" dirty="0"/>
              <a:t>Edit Master </a:t>
            </a:r>
            <a:r>
              <a:rPr lang="fr-FR" dirty="0" err="1"/>
              <a:t>text</a:t>
            </a:r>
            <a:r>
              <a:rPr lang="fr-FR" dirty="0"/>
              <a:t> style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spTree>
    <p:extLst>
      <p:ext uri="{BB962C8B-B14F-4D97-AF65-F5344CB8AC3E}">
        <p14:creationId xmlns:p14="http://schemas.microsoft.com/office/powerpoint/2010/main" val="16732795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17" name="Object 1" hidden="1">
            <a:extLst>
              <a:ext uri="{FF2B5EF4-FFF2-40B4-BE49-F238E27FC236}">
                <a16:creationId xmlns:a16="http://schemas.microsoft.com/office/drawing/2014/main" id="{1E6363B1-EA19-4A70-8CF0-C16EA4E29589}"/>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6156" name="think-cell Slide" r:id="rId5" imgW="473" imgH="473" progId="TCLayout.ActiveDocument.1">
                  <p:embed/>
                </p:oleObj>
              </mc:Choice>
              <mc:Fallback>
                <p:oleObj name="think-cell Slide" r:id="rId5" imgW="473" imgH="473" progId="TCLayout.ActiveDocument.1">
                  <p:embed/>
                  <p:pic>
                    <p:nvPicPr>
                      <p:cNvPr id="17" name="Object 1" hidden="1">
                        <a:extLst>
                          <a:ext uri="{FF2B5EF4-FFF2-40B4-BE49-F238E27FC236}">
                            <a16:creationId xmlns:a16="http://schemas.microsoft.com/office/drawing/2014/main" id="{1E6363B1-EA19-4A70-8CF0-C16EA4E29589}"/>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16" name="Rectangle 5" hidden="1">
            <a:extLst>
              <a:ext uri="{FF2B5EF4-FFF2-40B4-BE49-F238E27FC236}">
                <a16:creationId xmlns:a16="http://schemas.microsoft.com/office/drawing/2014/main" id="{50C24274-0E16-4288-B24C-5960E828A261}"/>
              </a:ext>
            </a:extLst>
          </p:cNvPr>
          <p:cNvSpPr/>
          <p:nvPr userDrawn="1">
            <p:custDataLst>
              <p:tags r:id="rId3"/>
            </p:custDataLst>
          </p:nvPr>
        </p:nvSpPr>
        <p:spPr>
          <a:xfrm>
            <a:off x="0" y="0"/>
            <a:ext cx="161977" cy="161974"/>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2449" b="1" i="0" baseline="0" dirty="0">
              <a:solidFill>
                <a:schemeClr val="tx1"/>
              </a:solidFill>
              <a:latin typeface="Arial Narrow" panose="020B0606020202030204" pitchFamily="34" charset="0"/>
              <a:ea typeface="ＭＳ Ｐゴシック" panose="020B0600070205080204" pitchFamily="34" charset="-128"/>
              <a:cs typeface="+mj-cs"/>
              <a:sym typeface="Arial Narrow" panose="020B0606020202030204" pitchFamily="34" charset="0"/>
            </a:endParaRPr>
          </a:p>
        </p:txBody>
      </p:sp>
      <p:sp>
        <p:nvSpPr>
          <p:cNvPr id="2" name="Title 1">
            <a:extLst>
              <a:ext uri="{FF2B5EF4-FFF2-40B4-BE49-F238E27FC236}">
                <a16:creationId xmlns:a16="http://schemas.microsoft.com/office/drawing/2014/main" id="{D4DA1EFB-DB0F-4FB0-B133-4263B14DA995}"/>
              </a:ext>
            </a:extLst>
          </p:cNvPr>
          <p:cNvSpPr>
            <a:spLocks noGrp="1"/>
          </p:cNvSpPr>
          <p:nvPr>
            <p:ph type="title" hasCustomPrompt="1"/>
          </p:nvPr>
        </p:nvSpPr>
        <p:spPr/>
        <p:txBody>
          <a:bodyPr/>
          <a:lstStyle>
            <a:lvl1pPr>
              <a:defRPr>
                <a:solidFill>
                  <a:schemeClr val="tx2"/>
                </a:solidFill>
              </a:defRPr>
            </a:lvl1pPr>
          </a:lstStyle>
          <a:p>
            <a:r>
              <a:rPr lang="fr-FR" dirty="0"/>
              <a:t>Agenda</a:t>
            </a:r>
          </a:p>
        </p:txBody>
      </p:sp>
    </p:spTree>
    <p:extLst>
      <p:ext uri="{BB962C8B-B14F-4D97-AF65-F5344CB8AC3E}">
        <p14:creationId xmlns:p14="http://schemas.microsoft.com/office/powerpoint/2010/main" val="5035212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Diapositive de titre">
    <p:bg>
      <p:bgRef idx="1001">
        <a:schemeClr val="bg1"/>
      </p:bgRef>
    </p:bg>
    <p:spTree>
      <p:nvGrpSpPr>
        <p:cNvPr id="1" name=""/>
        <p:cNvGrpSpPr/>
        <p:nvPr/>
      </p:nvGrpSpPr>
      <p:grpSpPr>
        <a:xfrm>
          <a:off x="0" y="0"/>
          <a:ext cx="0" cy="0"/>
          <a:chOff x="0" y="0"/>
          <a:chExt cx="0" cy="0"/>
        </a:xfrm>
      </p:grpSpPr>
      <p:sp>
        <p:nvSpPr>
          <p:cNvPr id="12" name="Sommaire"/>
          <p:cNvSpPr>
            <a:spLocks noGrp="1"/>
          </p:cNvSpPr>
          <p:nvPr>
            <p:ph type="title"/>
          </p:nvPr>
        </p:nvSpPr>
        <p:spPr>
          <a:xfrm>
            <a:off x="365195" y="428782"/>
            <a:ext cx="11461612" cy="449642"/>
          </a:xfrm>
          <a:prstGeom prst="rect">
            <a:avLst/>
          </a:prstGeom>
        </p:spPr>
        <p:txBody>
          <a:bodyPr lIns="0" tIns="0" rIns="0" bIns="0" anchor="t"/>
          <a:lstStyle>
            <a:lvl1pPr algn="l">
              <a:defRPr sz="3121">
                <a:solidFill>
                  <a:srgbClr val="149AC2"/>
                </a:solidFill>
                <a:latin typeface="Helvetica Rounded" pitchFamily="50" charset="0"/>
              </a:defRPr>
            </a:lvl1pPr>
          </a:lstStyle>
          <a:p>
            <a:r>
              <a:rPr lang="fr-FR" noProof="0" dirty="0"/>
              <a:t>Modifiez le style du titre</a:t>
            </a:r>
          </a:p>
        </p:txBody>
      </p:sp>
      <p:sp>
        <p:nvSpPr>
          <p:cNvPr id="14" name="Espace réservé du texte 4"/>
          <p:cNvSpPr>
            <a:spLocks noGrp="1"/>
          </p:cNvSpPr>
          <p:nvPr>
            <p:ph type="body" sz="quarter" idx="11" hasCustomPrompt="1"/>
          </p:nvPr>
        </p:nvSpPr>
        <p:spPr>
          <a:xfrm>
            <a:off x="365195" y="1088233"/>
            <a:ext cx="11461475" cy="337231"/>
          </a:xfrm>
          <a:prstGeom prst="rect">
            <a:avLst/>
          </a:prstGeom>
        </p:spPr>
        <p:txBody>
          <a:bodyPr lIns="0" tIns="0" rIns="0" bIns="0" anchor="t"/>
          <a:lstStyle>
            <a:lvl1pPr marL="0" indent="0">
              <a:buNone/>
              <a:defRPr sz="2497">
                <a:solidFill>
                  <a:srgbClr val="7550A1"/>
                </a:solidFill>
                <a:latin typeface="Helvetica" pitchFamily="2" charset="0"/>
              </a:defRPr>
            </a:lvl1pPr>
          </a:lstStyle>
          <a:p>
            <a:pPr lvl="0"/>
            <a:r>
              <a:rPr lang="fr-FR" noProof="0" dirty="0"/>
              <a:t>Sous-titre ou suite de titre (optionnel)</a:t>
            </a:r>
          </a:p>
        </p:txBody>
      </p:sp>
      <p:pic>
        <p:nvPicPr>
          <p:cNvPr id="6" name="Picture 6" descr="C:\Users\Lenovo\Desktop\Logos ADD\Logo ADD Fr.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t="19568" b="29764"/>
          <a:stretch>
            <a:fillRect/>
          </a:stretch>
        </p:blipFill>
        <p:spPr bwMode="auto">
          <a:xfrm>
            <a:off x="10735204" y="6222335"/>
            <a:ext cx="1289927" cy="466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Connecteur droit 6"/>
          <p:cNvCxnSpPr/>
          <p:nvPr userDrawn="1"/>
        </p:nvCxnSpPr>
        <p:spPr>
          <a:xfrm>
            <a:off x="365195" y="1001306"/>
            <a:ext cx="11461475" cy="0"/>
          </a:xfrm>
          <a:prstGeom prst="line">
            <a:avLst/>
          </a:prstGeom>
          <a:ln w="635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Espace réservé du texte 11"/>
          <p:cNvSpPr>
            <a:spLocks noGrp="1"/>
          </p:cNvSpPr>
          <p:nvPr>
            <p:ph type="body" sz="quarter" idx="10"/>
          </p:nvPr>
        </p:nvSpPr>
        <p:spPr>
          <a:xfrm>
            <a:off x="365196" y="1653448"/>
            <a:ext cx="11461475" cy="4308941"/>
          </a:xfrm>
          <a:prstGeom prst="rect">
            <a:avLst/>
          </a:prstGeom>
        </p:spPr>
        <p:txBody>
          <a:bodyPr vert="horz"/>
          <a:lstStyle>
            <a:lvl1pPr marL="445956" indent="-445956">
              <a:buSzPct val="120000"/>
              <a:buFont typeface="Wingdings" pitchFamily="2" charset="2"/>
              <a:buChar char="§"/>
              <a:defRPr sz="2184">
                <a:solidFill>
                  <a:srgbClr val="404040"/>
                </a:solidFill>
                <a:latin typeface="Helvetica" pitchFamily="2" charset="0"/>
                <a:cs typeface="Arial"/>
              </a:defRPr>
            </a:lvl1pPr>
            <a:lvl2pPr marL="1159485" indent="-445956">
              <a:buClr>
                <a:srgbClr val="00727A"/>
              </a:buClr>
              <a:buSzPct val="100000"/>
              <a:buFont typeface="Arial" pitchFamily="34" charset="0"/>
              <a:buChar char="•"/>
              <a:defRPr sz="1873" baseline="0">
                <a:solidFill>
                  <a:srgbClr val="404040"/>
                </a:solidFill>
                <a:latin typeface="Helvetica" pitchFamily="2" charset="0"/>
                <a:cs typeface="Arial"/>
              </a:defRPr>
            </a:lvl2pPr>
            <a:lvl3pPr marL="1682246" indent="-255186">
              <a:buClr>
                <a:srgbClr val="004563"/>
              </a:buClr>
              <a:buSzPct val="100000"/>
              <a:buFont typeface="Arial" pitchFamily="34" charset="0"/>
              <a:buChar char="­"/>
              <a:defRPr sz="1717" i="1">
                <a:solidFill>
                  <a:srgbClr val="404040"/>
                </a:solidFill>
                <a:latin typeface="Helvetica" pitchFamily="2" charset="0"/>
                <a:cs typeface="Arial"/>
              </a:defRPr>
            </a:lvl3pPr>
            <a:lvl4pPr>
              <a:defRPr>
                <a:latin typeface="Helvetica" pitchFamily="2" charset="0"/>
              </a:defRPr>
            </a:lvl4pPr>
            <a:lvl5pPr>
              <a:defRPr>
                <a:latin typeface="Helvetica" pitchFamily="2" charset="0"/>
              </a:defRPr>
            </a:lvl5pPr>
          </a:lstStyle>
          <a:p>
            <a:pPr lvl="0"/>
            <a:r>
              <a:rPr lang="fr-FR" dirty="0"/>
              <a:t>Modifiez les styles du texte du masque</a:t>
            </a:r>
          </a:p>
          <a:p>
            <a:pPr lvl="1"/>
            <a:r>
              <a:rPr lang="fr-FR" dirty="0"/>
              <a:t>Deuxième niveau</a:t>
            </a:r>
          </a:p>
          <a:p>
            <a:pPr lvl="2"/>
            <a:r>
              <a:rPr lang="fr-FR" dirty="0"/>
              <a:t>Troisième niveau</a:t>
            </a:r>
          </a:p>
        </p:txBody>
      </p:sp>
    </p:spTree>
    <p:extLst>
      <p:ext uri="{BB962C8B-B14F-4D97-AF65-F5344CB8AC3E}">
        <p14:creationId xmlns:p14="http://schemas.microsoft.com/office/powerpoint/2010/main" val="2404424131"/>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TITRE">
    <p:bg>
      <p:bgPr>
        <a:solidFill>
          <a:srgbClr val="149AC2"/>
        </a:solidFill>
        <a:effectLst/>
      </p:bgPr>
    </p:bg>
    <p:spTree>
      <p:nvGrpSpPr>
        <p:cNvPr id="1" name=""/>
        <p:cNvGrpSpPr/>
        <p:nvPr/>
      </p:nvGrpSpPr>
      <p:grpSpPr>
        <a:xfrm>
          <a:off x="0" y="0"/>
          <a:ext cx="0" cy="0"/>
          <a:chOff x="0" y="0"/>
          <a:chExt cx="0" cy="0"/>
        </a:xfrm>
      </p:grpSpPr>
      <p:sp>
        <p:nvSpPr>
          <p:cNvPr id="10" name="Titre 9"/>
          <p:cNvSpPr>
            <a:spLocks noGrp="1"/>
          </p:cNvSpPr>
          <p:nvPr userDrawn="1">
            <p:ph type="title"/>
          </p:nvPr>
        </p:nvSpPr>
        <p:spPr>
          <a:xfrm>
            <a:off x="474135" y="1940022"/>
            <a:ext cx="11243733" cy="1143000"/>
          </a:xfrm>
          <a:prstGeom prst="rect">
            <a:avLst/>
          </a:prstGeom>
        </p:spPr>
        <p:txBody>
          <a:bodyPr vert="horz" lIns="0" tIns="0" rIns="0" bIns="0" anchor="b" anchorCtr="0"/>
          <a:lstStyle>
            <a:lvl1pPr algn="ctr">
              <a:defRPr sz="4994" cap="all">
                <a:solidFill>
                  <a:schemeClr val="bg1"/>
                </a:solidFill>
                <a:latin typeface="Helvetica Rounded" pitchFamily="50" charset="0"/>
                <a:cs typeface="Helvetica Rounded" pitchFamily="50" charset="0"/>
              </a:defRPr>
            </a:lvl1pPr>
          </a:lstStyle>
          <a:p>
            <a:r>
              <a:rPr lang="fr-FR" dirty="0"/>
              <a:t>Modifiez le style du titre</a:t>
            </a:r>
          </a:p>
        </p:txBody>
      </p:sp>
      <p:cxnSp>
        <p:nvCxnSpPr>
          <p:cNvPr id="12" name="Connecteur droit 11"/>
          <p:cNvCxnSpPr/>
          <p:nvPr userDrawn="1"/>
        </p:nvCxnSpPr>
        <p:spPr>
          <a:xfrm flipH="1">
            <a:off x="3898006" y="3411530"/>
            <a:ext cx="4395991" cy="0"/>
          </a:xfrm>
          <a:prstGeom prst="line">
            <a:avLst/>
          </a:prstGeom>
          <a:ln w="12700" cap="rnd">
            <a:solidFill>
              <a:schemeClr val="tx1">
                <a:lumMod val="10000"/>
                <a:lumOff val="90000"/>
              </a:schemeClr>
            </a:solidFill>
            <a:prstDash val="solid"/>
          </a:ln>
        </p:spPr>
        <p:style>
          <a:lnRef idx="1">
            <a:schemeClr val="accent1"/>
          </a:lnRef>
          <a:fillRef idx="0">
            <a:schemeClr val="accent1"/>
          </a:fillRef>
          <a:effectRef idx="0">
            <a:schemeClr val="accent1"/>
          </a:effectRef>
          <a:fontRef idx="minor">
            <a:schemeClr val="tx1"/>
          </a:fontRef>
        </p:style>
      </p:cxnSp>
      <p:sp>
        <p:nvSpPr>
          <p:cNvPr id="16" name="Espace réservé du texte 15"/>
          <p:cNvSpPr>
            <a:spLocks noGrp="1"/>
          </p:cNvSpPr>
          <p:nvPr userDrawn="1">
            <p:ph type="body" sz="quarter" idx="10"/>
          </p:nvPr>
        </p:nvSpPr>
        <p:spPr>
          <a:xfrm>
            <a:off x="482601" y="3677470"/>
            <a:ext cx="11252200" cy="431800"/>
          </a:xfrm>
          <a:prstGeom prst="rect">
            <a:avLst/>
          </a:prstGeom>
        </p:spPr>
        <p:txBody>
          <a:bodyPr vert="horz" lIns="69732" tIns="34866" rIns="69732" bIns="34866">
            <a:normAutofit/>
          </a:bodyPr>
          <a:lstStyle>
            <a:lvl1pPr marL="0" indent="0" algn="ctr">
              <a:buFontTx/>
              <a:buNone/>
              <a:defRPr sz="2185" cap="none">
                <a:solidFill>
                  <a:schemeClr val="bg1"/>
                </a:solidFill>
                <a:latin typeface="Helvetica" pitchFamily="2" charset="0"/>
                <a:cs typeface="Arial"/>
              </a:defRPr>
            </a:lvl1pPr>
          </a:lstStyle>
          <a:p>
            <a:pPr lvl="0"/>
            <a:r>
              <a:rPr lang="fr-FR" dirty="0"/>
              <a:t>Modifiez les styles du texte du masque</a:t>
            </a:r>
          </a:p>
        </p:txBody>
      </p:sp>
      <p:sp>
        <p:nvSpPr>
          <p:cNvPr id="17" name="Rectangle 16"/>
          <p:cNvSpPr/>
          <p:nvPr userDrawn="1"/>
        </p:nvSpPr>
        <p:spPr>
          <a:xfrm>
            <a:off x="0" y="-2"/>
            <a:ext cx="12192000" cy="1236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828" tIns="54414" rIns="108828" bIns="54414" rtlCol="0" anchor="ctr"/>
          <a:lstStyle/>
          <a:p>
            <a:pPr algn="ctr"/>
            <a:endParaRPr lang="fr-FR" sz="2809" dirty="0">
              <a:latin typeface="Century Gothic" pitchFamily="34" charset="0"/>
            </a:endParaRPr>
          </a:p>
        </p:txBody>
      </p:sp>
      <p:pic>
        <p:nvPicPr>
          <p:cNvPr id="19" name="Picture 6" descr="C:\Users\Lenovo\Desktop\Logos ADD\Logo ADD Fr.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t="19568" b="29764"/>
          <a:stretch>
            <a:fillRect/>
          </a:stretch>
        </p:blipFill>
        <p:spPr bwMode="auto">
          <a:xfrm>
            <a:off x="4740728" y="192382"/>
            <a:ext cx="2352763" cy="851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9"/>
          <p:cNvSpPr/>
          <p:nvPr userDrawn="1"/>
        </p:nvSpPr>
        <p:spPr>
          <a:xfrm>
            <a:off x="0" y="5623180"/>
            <a:ext cx="12192000" cy="1236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828" tIns="54414" rIns="108828" bIns="54414" rtlCol="0" anchor="ctr"/>
          <a:lstStyle/>
          <a:p>
            <a:pPr algn="ctr"/>
            <a:endParaRPr lang="fr-FR" sz="2809" dirty="0">
              <a:latin typeface="Century Gothic" pitchFamily="34" charset="0"/>
            </a:endParaRPr>
          </a:p>
        </p:txBody>
      </p:sp>
    </p:spTree>
    <p:extLst>
      <p:ext uri="{BB962C8B-B14F-4D97-AF65-F5344CB8AC3E}">
        <p14:creationId xmlns:p14="http://schemas.microsoft.com/office/powerpoint/2010/main" val="251084940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9" Type="http://schemas.openxmlformats.org/officeDocument/2006/relationships/tags" Target="../tags/tag30.xml"/><Relationship Id="rId3" Type="http://schemas.openxmlformats.org/officeDocument/2006/relationships/slideLayout" Target="../slideLayouts/slideLayout3.xml"/><Relationship Id="rId21" Type="http://schemas.openxmlformats.org/officeDocument/2006/relationships/tags" Target="../tags/tag12.xml"/><Relationship Id="rId34" Type="http://schemas.openxmlformats.org/officeDocument/2006/relationships/tags" Target="../tags/tag25.xml"/><Relationship Id="rId42" Type="http://schemas.openxmlformats.org/officeDocument/2006/relationships/tags" Target="../tags/tag33.xml"/><Relationship Id="rId47"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33" Type="http://schemas.openxmlformats.org/officeDocument/2006/relationships/tags" Target="../tags/tag24.xml"/><Relationship Id="rId38" Type="http://schemas.openxmlformats.org/officeDocument/2006/relationships/tags" Target="../tags/tag29.xml"/><Relationship Id="rId46" Type="http://schemas.openxmlformats.org/officeDocument/2006/relationships/tags" Target="../tags/tag37.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29" Type="http://schemas.openxmlformats.org/officeDocument/2006/relationships/tags" Target="../tags/tag20.xml"/><Relationship Id="rId41" Type="http://schemas.openxmlformats.org/officeDocument/2006/relationships/tags" Target="../tags/tag3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32" Type="http://schemas.openxmlformats.org/officeDocument/2006/relationships/tags" Target="../tags/tag23.xml"/><Relationship Id="rId37" Type="http://schemas.openxmlformats.org/officeDocument/2006/relationships/tags" Target="../tags/tag28.xml"/><Relationship Id="rId40" Type="http://schemas.openxmlformats.org/officeDocument/2006/relationships/tags" Target="../tags/tag31.xml"/><Relationship Id="rId45" Type="http://schemas.openxmlformats.org/officeDocument/2006/relationships/tags" Target="../tags/tag36.xml"/><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tags" Target="../tags/tag19.xml"/><Relationship Id="rId36" Type="http://schemas.openxmlformats.org/officeDocument/2006/relationships/tags" Target="../tags/tag27.xml"/><Relationship Id="rId49" Type="http://schemas.openxmlformats.org/officeDocument/2006/relationships/image" Target="../media/image2.png"/><Relationship Id="rId10" Type="http://schemas.openxmlformats.org/officeDocument/2006/relationships/tags" Target="../tags/tag1.xml"/><Relationship Id="rId19" Type="http://schemas.openxmlformats.org/officeDocument/2006/relationships/tags" Target="../tags/tag10.xml"/><Relationship Id="rId31" Type="http://schemas.openxmlformats.org/officeDocument/2006/relationships/tags" Target="../tags/tag22.xml"/><Relationship Id="rId44" Type="http://schemas.openxmlformats.org/officeDocument/2006/relationships/tags" Target="../tags/tag35.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tags" Target="../tags/tag18.xml"/><Relationship Id="rId30" Type="http://schemas.openxmlformats.org/officeDocument/2006/relationships/tags" Target="../tags/tag21.xml"/><Relationship Id="rId35" Type="http://schemas.openxmlformats.org/officeDocument/2006/relationships/tags" Target="../tags/tag26.xml"/><Relationship Id="rId43" Type="http://schemas.openxmlformats.org/officeDocument/2006/relationships/tags" Target="../tags/tag34.xml"/><Relationship Id="rId48" Type="http://schemas.openxmlformats.org/officeDocument/2006/relationships/image" Target="../media/image1.emf"/><Relationship Id="rId8"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0"/>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038" name="think-cell Slide" r:id="rId47" imgW="270" imgH="270" progId="TCLayout.ActiveDocument.1">
                  <p:embed/>
                </p:oleObj>
              </mc:Choice>
              <mc:Fallback>
                <p:oleObj name="think-cell Slide" r:id="rId47" imgW="270" imgH="270" progId="TCLayout.ActiveDocument.1">
                  <p:embed/>
                  <p:pic>
                    <p:nvPicPr>
                      <p:cNvPr id="2" name="Object 1" hidden="1"/>
                      <p:cNvPicPr/>
                      <p:nvPr/>
                    </p:nvPicPr>
                    <p:blipFill>
                      <a:blip r:embed="rId48"/>
                      <a:stretch>
                        <a:fillRect/>
                      </a:stretch>
                    </p:blipFill>
                    <p:spPr>
                      <a:xfrm>
                        <a:off x="0" y="0"/>
                        <a:ext cx="215979" cy="161974"/>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2B9D14E-E29D-4FA7-9685-6BCA1FEB12D6}"/>
              </a:ext>
            </a:extLst>
          </p:cNvPr>
          <p:cNvSpPr/>
          <p:nvPr userDrawn="1">
            <p:custDataLst>
              <p:tags r:id="rId11"/>
            </p:custDataLst>
          </p:nvPr>
        </p:nvSpPr>
        <p:spPr>
          <a:xfrm>
            <a:off x="0" y="0"/>
            <a:ext cx="161977" cy="161974"/>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fr-FR" sz="2449" b="1" i="0" baseline="0" dirty="0">
              <a:solidFill>
                <a:schemeClr val="tx1"/>
              </a:solidFill>
              <a:latin typeface="Arial Narrow" panose="020B0606020202030204" pitchFamily="34" charset="0"/>
              <a:ea typeface="ＭＳ Ｐゴシック" panose="020B0600070205080204" pitchFamily="34" charset="-128"/>
              <a:cs typeface="+mj-cs"/>
              <a:sym typeface="Arial Narrow" panose="020B0606020202030204" pitchFamily="34" charset="0"/>
            </a:endParaRPr>
          </a:p>
        </p:txBody>
      </p:sp>
      <p:grpSp>
        <p:nvGrpSpPr>
          <p:cNvPr id="174" name="Group 173">
            <a:extLst>
              <a:ext uri="{FF2B5EF4-FFF2-40B4-BE49-F238E27FC236}">
                <a16:creationId xmlns:a16="http://schemas.microsoft.com/office/drawing/2014/main" id="{52951E77-9540-407C-9284-35C3A0ED2E94}"/>
              </a:ext>
            </a:extLst>
          </p:cNvPr>
          <p:cNvGrpSpPr/>
          <p:nvPr userDrawn="1"/>
        </p:nvGrpSpPr>
        <p:grpSpPr bwMode="gray">
          <a:xfrm>
            <a:off x="7984404" y="6007889"/>
            <a:ext cx="4210025" cy="858160"/>
            <a:chOff x="4310063" y="5171734"/>
            <a:chExt cx="7641431" cy="1557630"/>
          </a:xfrm>
        </p:grpSpPr>
        <p:cxnSp>
          <p:nvCxnSpPr>
            <p:cNvPr id="176" name="Straight Connector 175">
              <a:extLst>
                <a:ext uri="{FF2B5EF4-FFF2-40B4-BE49-F238E27FC236}">
                  <a16:creationId xmlns:a16="http://schemas.microsoft.com/office/drawing/2014/main" id="{720A0113-BAB1-4530-8DB1-025C6DB1973B}"/>
                </a:ext>
              </a:extLst>
            </p:cNvPr>
            <p:cNvCxnSpPr>
              <a:cxnSpLocks/>
            </p:cNvCxnSpPr>
            <p:nvPr/>
          </p:nvCxnSpPr>
          <p:spPr bwMode="gray">
            <a:xfrm flipV="1">
              <a:off x="11491913" y="6478879"/>
              <a:ext cx="449391" cy="24339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B052EB10-AB34-41D2-B2FD-A715046C855D}"/>
                </a:ext>
              </a:extLst>
            </p:cNvPr>
            <p:cNvCxnSpPr>
              <a:cxnSpLocks/>
            </p:cNvCxnSpPr>
            <p:nvPr/>
          </p:nvCxnSpPr>
          <p:spPr bwMode="gray">
            <a:xfrm flipV="1">
              <a:off x="10732294" y="5174456"/>
              <a:ext cx="1219200" cy="1547814"/>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2CD25449-E084-4257-986E-2552A5C4AC0A}"/>
                </a:ext>
              </a:extLst>
            </p:cNvPr>
            <p:cNvCxnSpPr>
              <a:cxnSpLocks/>
            </p:cNvCxnSpPr>
            <p:nvPr/>
          </p:nvCxnSpPr>
          <p:spPr bwMode="gray">
            <a:xfrm flipV="1">
              <a:off x="8481060" y="6161838"/>
              <a:ext cx="3468053" cy="552519"/>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C4E1E313-8EE9-4796-988D-310D1CDA6FA0}"/>
                </a:ext>
              </a:extLst>
            </p:cNvPr>
            <p:cNvCxnSpPr>
              <a:cxnSpLocks/>
            </p:cNvCxnSpPr>
            <p:nvPr/>
          </p:nvCxnSpPr>
          <p:spPr bwMode="gray">
            <a:xfrm>
              <a:off x="9448800" y="5622131"/>
              <a:ext cx="378619" cy="110490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06E1AD96-69D3-40D4-B180-F459E3C137E3}"/>
                </a:ext>
              </a:extLst>
            </p:cNvPr>
            <p:cNvCxnSpPr>
              <a:cxnSpLocks/>
            </p:cNvCxnSpPr>
            <p:nvPr/>
          </p:nvCxnSpPr>
          <p:spPr bwMode="gray">
            <a:xfrm flipV="1">
              <a:off x="10438292" y="5171734"/>
              <a:ext cx="1510821" cy="239782"/>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9A65D4EB-6358-4F3A-BB3B-607EB428E922}"/>
                </a:ext>
              </a:extLst>
            </p:cNvPr>
            <p:cNvCxnSpPr>
              <a:cxnSpLocks/>
            </p:cNvCxnSpPr>
            <p:nvPr/>
          </p:nvCxnSpPr>
          <p:spPr bwMode="gray">
            <a:xfrm flipV="1">
              <a:off x="6880804" y="6019800"/>
              <a:ext cx="691784" cy="617595"/>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A7E0AB76-566B-4C51-9D94-C31655396FB3}"/>
                </a:ext>
              </a:extLst>
            </p:cNvPr>
            <p:cNvCxnSpPr>
              <a:cxnSpLocks/>
            </p:cNvCxnSpPr>
            <p:nvPr/>
          </p:nvCxnSpPr>
          <p:spPr bwMode="gray">
            <a:xfrm flipV="1">
              <a:off x="4310063" y="5411515"/>
              <a:ext cx="6128228" cy="1306759"/>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C7AEBB3D-C1E7-41F2-833F-02792E046714}"/>
                </a:ext>
              </a:extLst>
            </p:cNvPr>
            <p:cNvCxnSpPr>
              <a:cxnSpLocks/>
            </p:cNvCxnSpPr>
            <p:nvPr/>
          </p:nvCxnSpPr>
          <p:spPr bwMode="gray">
            <a:xfrm flipV="1">
              <a:off x="6811302" y="6626678"/>
              <a:ext cx="80036" cy="97972"/>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27A3DEE3-9B06-40EB-BDF6-A2F58C952260}"/>
                </a:ext>
              </a:extLst>
            </p:cNvPr>
            <p:cNvCxnSpPr>
              <a:cxnSpLocks/>
            </p:cNvCxnSpPr>
            <p:nvPr/>
          </p:nvCxnSpPr>
          <p:spPr bwMode="gray">
            <a:xfrm>
              <a:off x="10445727" y="5411514"/>
              <a:ext cx="791392" cy="1313136"/>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9E28888D-ABAF-4074-A7C4-5FB338E3E731}"/>
                </a:ext>
              </a:extLst>
            </p:cNvPr>
            <p:cNvCxnSpPr>
              <a:cxnSpLocks/>
            </p:cNvCxnSpPr>
            <p:nvPr/>
          </p:nvCxnSpPr>
          <p:spPr bwMode="gray">
            <a:xfrm flipH="1">
              <a:off x="10216562" y="5411514"/>
              <a:ext cx="221730" cy="1306786"/>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20A0CC43-8DA0-4074-9D11-7C45E629EB62}"/>
                </a:ext>
              </a:extLst>
            </p:cNvPr>
            <p:cNvCxnSpPr>
              <a:cxnSpLocks/>
            </p:cNvCxnSpPr>
            <p:nvPr/>
          </p:nvCxnSpPr>
          <p:spPr bwMode="gray">
            <a:xfrm flipV="1">
              <a:off x="9896475" y="6303169"/>
              <a:ext cx="1178719" cy="423862"/>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7B616F70-09C6-4CA4-8EC0-E76D396DCCFA}"/>
                </a:ext>
              </a:extLst>
            </p:cNvPr>
            <p:cNvCxnSpPr>
              <a:cxnSpLocks/>
            </p:cNvCxnSpPr>
            <p:nvPr/>
          </p:nvCxnSpPr>
          <p:spPr bwMode="gray">
            <a:xfrm>
              <a:off x="11060906" y="6307591"/>
              <a:ext cx="888207" cy="171283"/>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C0F1607E-D2A1-444B-BD14-AF5EE1B1091F}"/>
                </a:ext>
              </a:extLst>
            </p:cNvPr>
            <p:cNvCxnSpPr>
              <a:cxnSpLocks/>
            </p:cNvCxnSpPr>
            <p:nvPr/>
          </p:nvCxnSpPr>
          <p:spPr bwMode="gray">
            <a:xfrm>
              <a:off x="8275686" y="6373196"/>
              <a:ext cx="563514" cy="356168"/>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F32D7D0D-1516-4F3D-B037-EF5B0A3AC985}"/>
                </a:ext>
              </a:extLst>
            </p:cNvPr>
            <p:cNvCxnSpPr>
              <a:cxnSpLocks/>
            </p:cNvCxnSpPr>
            <p:nvPr/>
          </p:nvCxnSpPr>
          <p:spPr bwMode="gray">
            <a:xfrm>
              <a:off x="5564981" y="6452289"/>
              <a:ext cx="2043956" cy="268551"/>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E39364AD-6789-4EB0-A59C-00B7C752AC6F}"/>
                </a:ext>
              </a:extLst>
            </p:cNvPr>
            <p:cNvCxnSpPr>
              <a:cxnSpLocks/>
            </p:cNvCxnSpPr>
            <p:nvPr/>
          </p:nvCxnSpPr>
          <p:spPr bwMode="gray">
            <a:xfrm flipV="1">
              <a:off x="8191500" y="5407819"/>
              <a:ext cx="2255044" cy="1311952"/>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17C7DE3A-5365-4EDF-8A8F-3CCCB52A3FC0}"/>
                </a:ext>
              </a:extLst>
            </p:cNvPr>
            <p:cNvCxnSpPr>
              <a:cxnSpLocks/>
            </p:cNvCxnSpPr>
            <p:nvPr/>
          </p:nvCxnSpPr>
          <p:spPr bwMode="gray">
            <a:xfrm flipV="1">
              <a:off x="6872288" y="6141244"/>
              <a:ext cx="139346" cy="586789"/>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ECCC48B0-F028-4263-A156-B4C1A1D8B59F}"/>
                </a:ext>
              </a:extLst>
            </p:cNvPr>
            <p:cNvCxnSpPr>
              <a:cxnSpLocks/>
            </p:cNvCxnSpPr>
            <p:nvPr/>
          </p:nvCxnSpPr>
          <p:spPr bwMode="gray">
            <a:xfrm>
              <a:off x="7455355" y="6043613"/>
              <a:ext cx="565813" cy="681037"/>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A097F2E4-191C-4406-924B-4EAAF8F47F46}"/>
                </a:ext>
              </a:extLst>
            </p:cNvPr>
            <p:cNvCxnSpPr>
              <a:cxnSpLocks/>
            </p:cNvCxnSpPr>
            <p:nvPr/>
          </p:nvCxnSpPr>
          <p:spPr bwMode="gray">
            <a:xfrm flipV="1">
              <a:off x="8096785" y="5815013"/>
              <a:ext cx="448341" cy="905828"/>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E056E57E-0F2D-4B3A-8D27-CE41FA00F15D}"/>
                </a:ext>
              </a:extLst>
            </p:cNvPr>
            <p:cNvCxnSpPr>
              <a:cxnSpLocks/>
            </p:cNvCxnSpPr>
            <p:nvPr/>
          </p:nvCxnSpPr>
          <p:spPr bwMode="gray">
            <a:xfrm>
              <a:off x="7693405" y="6000750"/>
              <a:ext cx="583225" cy="35955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0910404F-8FC3-4C3E-97BA-BDB86BF96105}"/>
                </a:ext>
              </a:extLst>
            </p:cNvPr>
            <p:cNvCxnSpPr>
              <a:cxnSpLocks/>
            </p:cNvCxnSpPr>
            <p:nvPr/>
          </p:nvCxnSpPr>
          <p:spPr bwMode="gray">
            <a:xfrm>
              <a:off x="10441781" y="5412582"/>
              <a:ext cx="1507332" cy="478631"/>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036" name="Rectangle 286"/>
          <p:cNvSpPr>
            <a:spLocks noGrp="1" noChangeArrowheads="1"/>
          </p:cNvSpPr>
          <p:nvPr>
            <p:ph type="body" idx="1"/>
          </p:nvPr>
        </p:nvSpPr>
        <p:spPr bwMode="gray">
          <a:xfrm>
            <a:off x="233259" y="2479367"/>
            <a:ext cx="11725484"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fr-FR" noProof="0" dirty="0"/>
              <a:t>Edit Master </a:t>
            </a:r>
            <a:r>
              <a:rPr lang="fr-FR" noProof="0" dirty="0" err="1"/>
              <a:t>text</a:t>
            </a:r>
            <a:r>
              <a:rPr lang="fr-FR" noProof="0" dirty="0"/>
              <a:t> styles</a:t>
            </a:r>
          </a:p>
          <a:p>
            <a:pPr lvl="1"/>
            <a:r>
              <a:rPr lang="fr-FR" noProof="0" dirty="0"/>
              <a:t>Second </a:t>
            </a:r>
            <a:r>
              <a:rPr lang="fr-FR" noProof="0" dirty="0" err="1"/>
              <a:t>level</a:t>
            </a:r>
            <a:endParaRPr lang="fr-FR" noProof="0" dirty="0"/>
          </a:p>
          <a:p>
            <a:pPr lvl="2"/>
            <a:r>
              <a:rPr lang="fr-FR" noProof="0" dirty="0" err="1"/>
              <a:t>Third</a:t>
            </a:r>
            <a:r>
              <a:rPr lang="fr-FR" noProof="0" dirty="0"/>
              <a:t> </a:t>
            </a:r>
            <a:r>
              <a:rPr lang="fr-FR" noProof="0" dirty="0" err="1"/>
              <a:t>level</a:t>
            </a:r>
            <a:endParaRPr lang="fr-FR" noProof="0" dirty="0"/>
          </a:p>
          <a:p>
            <a:pPr lvl="3"/>
            <a:r>
              <a:rPr lang="fr-FR" noProof="0" dirty="0" err="1"/>
              <a:t>Fourth</a:t>
            </a:r>
            <a:r>
              <a:rPr lang="fr-FR" noProof="0" dirty="0"/>
              <a:t> </a:t>
            </a:r>
            <a:r>
              <a:rPr lang="fr-FR" noProof="0" dirty="0" err="1"/>
              <a:t>level</a:t>
            </a:r>
            <a:endParaRPr lang="fr-FR" noProof="0" dirty="0"/>
          </a:p>
          <a:p>
            <a:pPr lvl="4"/>
            <a:r>
              <a:rPr lang="fr-FR" noProof="0" dirty="0" err="1"/>
              <a:t>Fifth</a:t>
            </a:r>
            <a:r>
              <a:rPr lang="fr-FR" noProof="0" dirty="0"/>
              <a:t> </a:t>
            </a:r>
            <a:r>
              <a:rPr lang="fr-FR" noProof="0" dirty="0" err="1"/>
              <a:t>level</a:t>
            </a:r>
            <a:endParaRPr lang="fr-FR" noProof="0" dirty="0"/>
          </a:p>
        </p:txBody>
      </p:sp>
      <p:sp>
        <p:nvSpPr>
          <p:cNvPr id="19" name="Title Placeholder 2"/>
          <p:cNvSpPr>
            <a:spLocks noGrp="1" noChangeArrowheads="1"/>
          </p:cNvSpPr>
          <p:nvPr>
            <p:ph type="title"/>
          </p:nvPr>
        </p:nvSpPr>
        <p:spPr bwMode="gray">
          <a:xfrm>
            <a:off x="233259" y="283037"/>
            <a:ext cx="10514384"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r>
              <a:rPr lang="fr-FR" noProof="0" dirty="0"/>
              <a:t>Click to </a:t>
            </a:r>
            <a:r>
              <a:rPr lang="fr-FR" noProof="0" dirty="0" err="1"/>
              <a:t>edit</a:t>
            </a:r>
            <a:r>
              <a:rPr lang="fr-FR" noProof="0" dirty="0"/>
              <a:t> Master </a:t>
            </a:r>
            <a:r>
              <a:rPr lang="fr-FR" noProof="0" dirty="0" err="1"/>
              <a:t>title</a:t>
            </a:r>
            <a:r>
              <a:rPr lang="fr-FR" noProof="0" dirty="0"/>
              <a:t> style</a:t>
            </a:r>
          </a:p>
        </p:txBody>
      </p:sp>
      <p:sp>
        <p:nvSpPr>
          <p:cNvPr id="13" name="4. Footnote" hidden="1"/>
          <p:cNvSpPr txBox="1">
            <a:spLocks noChangeArrowheads="1"/>
          </p:cNvSpPr>
          <p:nvPr/>
        </p:nvSpPr>
        <p:spPr bwMode="gray">
          <a:xfrm>
            <a:off x="233259" y="6352084"/>
            <a:ext cx="11725484"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0423" indent="-100423">
              <a:defRPr/>
            </a:pPr>
            <a:r>
              <a:rPr lang="fr-FR" sz="1020" kern="1200" baseline="0" noProof="0" dirty="0">
                <a:solidFill>
                  <a:schemeClr val="tx1"/>
                </a:solidFill>
                <a:latin typeface="+mn-lt"/>
                <a:ea typeface="+mn-ea"/>
                <a:cs typeface="+mn-cs"/>
                <a:sym typeface="+mn-lt"/>
              </a:rPr>
              <a:t>1 Note de bas de page</a:t>
            </a:r>
          </a:p>
        </p:txBody>
      </p:sp>
      <p:sp>
        <p:nvSpPr>
          <p:cNvPr id="14" name="5. Source" hidden="1"/>
          <p:cNvSpPr>
            <a:spLocks noChangeArrowheads="1"/>
          </p:cNvSpPr>
          <p:nvPr/>
        </p:nvSpPr>
        <p:spPr bwMode="gray">
          <a:xfrm>
            <a:off x="233259" y="6543215"/>
            <a:ext cx="11254650"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71341" indent="-471341" defTabSz="913526">
              <a:tabLst/>
            </a:pPr>
            <a:r>
              <a:rPr lang="fr-FR" sz="1020" kern="1200" baseline="0" noProof="0" dirty="0">
                <a:solidFill>
                  <a:srgbClr val="000000"/>
                </a:solidFill>
                <a:latin typeface="+mn-lt"/>
                <a:ea typeface="+mn-ea"/>
                <a:cs typeface="+mn-cs"/>
                <a:sym typeface="+mn-lt"/>
              </a:rPr>
              <a:t>Source: Source</a:t>
            </a:r>
          </a:p>
        </p:txBody>
      </p:sp>
      <p:grpSp>
        <p:nvGrpSpPr>
          <p:cNvPr id="15" name="ACET" hidden="1"/>
          <p:cNvGrpSpPr>
            <a:grpSpLocks/>
          </p:cNvGrpSpPr>
          <p:nvPr/>
        </p:nvGrpSpPr>
        <p:grpSpPr bwMode="gray">
          <a:xfrm>
            <a:off x="233258" y="1847897"/>
            <a:ext cx="2919041" cy="531276"/>
            <a:chOff x="915" y="702"/>
            <a:chExt cx="2686" cy="328"/>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fr-FR" sz="1632" b="1" kern="1200" baseline="0" noProof="0" dirty="0">
                  <a:solidFill>
                    <a:schemeClr val="tx1"/>
                  </a:solidFill>
                  <a:latin typeface="+mn-lt"/>
                  <a:ea typeface="+mn-ea"/>
                  <a:cs typeface="+mn-cs"/>
                  <a:sym typeface="+mn-lt"/>
                </a:rPr>
                <a:t>Titre</a:t>
              </a:r>
            </a:p>
            <a:p>
              <a:r>
                <a:rPr lang="fr-FR" sz="1632" b="0" kern="1200" baseline="0" noProof="0" dirty="0">
                  <a:solidFill>
                    <a:schemeClr val="tx1"/>
                  </a:solidFill>
                  <a:latin typeface="+mn-lt"/>
                  <a:ea typeface="+mn-ea"/>
                  <a:cs typeface="+mn-cs"/>
                  <a:sym typeface="+mn-lt"/>
                </a:rPr>
                <a:t>Unité de mesure</a:t>
              </a:r>
            </a:p>
          </p:txBody>
        </p:sp>
      </p:grpSp>
      <p:sp>
        <p:nvSpPr>
          <p:cNvPr id="3" name="pg number"/>
          <p:cNvSpPr>
            <a:spLocks/>
          </p:cNvSpPr>
          <p:nvPr/>
        </p:nvSpPr>
        <p:spPr bwMode="gray">
          <a:xfrm>
            <a:off x="11793549" y="6544785"/>
            <a:ext cx="165194" cy="160154"/>
          </a:xfrm>
          <a:prstGeom prst="rect">
            <a:avLst/>
          </a:prstGeom>
        </p:spPr>
        <p:txBody>
          <a:bodyPr vert="horz" wrap="none" lIns="0" tIns="0" rIns="0" bIns="0" rtlCol="0" anchor="ctr">
            <a:spAutoFit/>
          </a:bodyPr>
          <a:lstStyle/>
          <a:p>
            <a:pPr lvl="0" algn="r"/>
            <a:fld id="{42C328C1-A84F-4A39-A664-DBA00541A8C6}" type="slidenum">
              <a:rPr lang="fr-FR" sz="1020" noProof="0" smtClean="0">
                <a:latin typeface="+mn-lt"/>
                <a:ea typeface="+mn-ea"/>
                <a:cs typeface="+mn-cs"/>
                <a:sym typeface="+mn-lt"/>
              </a:rPr>
              <a:pPr lvl="0" algn="r"/>
              <a:t>‹N°›</a:t>
            </a:fld>
            <a:endParaRPr lang="fr-FR" sz="1020" baseline="0" noProof="0" dirty="0">
              <a:solidFill>
                <a:schemeClr val="tx1"/>
              </a:solidFill>
              <a:latin typeface="+mn-lt"/>
              <a:ea typeface="+mn-ea"/>
              <a:cs typeface="+mn-cs"/>
              <a:sym typeface="+mn-lt"/>
            </a:endParaRPr>
          </a:p>
        </p:txBody>
      </p:sp>
      <p:sp>
        <p:nvSpPr>
          <p:cNvPr id="11" name="3. Unit of measure" hidden="1"/>
          <p:cNvSpPr txBox="1">
            <a:spLocks noChangeArrowheads="1"/>
          </p:cNvSpPr>
          <p:nvPr/>
        </p:nvSpPr>
        <p:spPr bwMode="gray">
          <a:xfrm>
            <a:off x="233259" y="744394"/>
            <a:ext cx="11725484"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tabLst>
                <a:tab pos="456763" algn="l"/>
              </a:tabLst>
              <a:defRPr/>
            </a:pPr>
            <a:r>
              <a:rPr lang="fr-FR" sz="1632" baseline="0" noProof="0" dirty="0">
                <a:solidFill>
                  <a:schemeClr val="tx1"/>
                </a:solidFill>
                <a:latin typeface="+mn-lt"/>
                <a:ea typeface="+mn-ea"/>
                <a:cs typeface="+mn-cs"/>
                <a:sym typeface="+mn-lt"/>
              </a:rPr>
              <a:t>Unité de mesure</a:t>
            </a:r>
          </a:p>
        </p:txBody>
      </p:sp>
      <p:sp>
        <p:nvSpPr>
          <p:cNvPr id="77" name="1. On-page tracker" hidden="1"/>
          <p:cNvSpPr>
            <a:spLocks noChangeArrowheads="1"/>
          </p:cNvSpPr>
          <p:nvPr/>
        </p:nvSpPr>
        <p:spPr bwMode="gray">
          <a:xfrm>
            <a:off x="233258" y="45941"/>
            <a:ext cx="703564" cy="19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456763" algn="l"/>
              </a:tabLst>
            </a:pPr>
            <a:r>
              <a:rPr lang="fr-FR" sz="1224" cap="all" baseline="0" dirty="0">
                <a:latin typeface="+mn-lt"/>
                <a:ea typeface="+mn-ea"/>
                <a:cs typeface="+mn-cs"/>
                <a:sym typeface="+mn-lt"/>
              </a:rPr>
              <a:t>TRACKER</a:t>
            </a:r>
          </a:p>
        </p:txBody>
      </p:sp>
      <p:grpSp>
        <p:nvGrpSpPr>
          <p:cNvPr id="93" name="LegendBoxes" hidden="1"/>
          <p:cNvGrpSpPr>
            <a:grpSpLocks/>
          </p:cNvGrpSpPr>
          <p:nvPr/>
        </p:nvGrpSpPr>
        <p:grpSpPr bwMode="gray">
          <a:xfrm>
            <a:off x="11092160" y="744393"/>
            <a:ext cx="861717" cy="1022061"/>
            <a:chOff x="4936" y="176"/>
            <a:chExt cx="532" cy="631"/>
          </a:xfrm>
        </p:grpSpPr>
        <p:sp>
          <p:nvSpPr>
            <p:cNvPr id="94" name="Legend1"/>
            <p:cNvSpPr>
              <a:spLocks noChangeArrowheads="1"/>
            </p:cNvSpPr>
            <p:nvPr/>
          </p:nvSpPr>
          <p:spPr bwMode="gray">
            <a:xfrm>
              <a:off x="5096" y="176"/>
              <a:ext cx="372"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95" name="LegendRectangle1"/>
            <p:cNvSpPr>
              <a:spLocks noChangeArrowheads="1"/>
            </p:cNvSpPr>
            <p:nvPr/>
          </p:nvSpPr>
          <p:spPr bwMode="gray">
            <a:xfrm>
              <a:off x="4936" y="182"/>
              <a:ext cx="104" cy="104"/>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sp>
          <p:nvSpPr>
            <p:cNvPr id="96" name="Legend2"/>
            <p:cNvSpPr>
              <a:spLocks noChangeArrowheads="1"/>
            </p:cNvSpPr>
            <p:nvPr/>
          </p:nvSpPr>
          <p:spPr bwMode="gray">
            <a:xfrm>
              <a:off x="5096" y="347"/>
              <a:ext cx="372" cy="119"/>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97" name="LegendRectangle2"/>
            <p:cNvSpPr>
              <a:spLocks noChangeArrowheads="1"/>
            </p:cNvSpPr>
            <p:nvPr/>
          </p:nvSpPr>
          <p:spPr bwMode="gray">
            <a:xfrm>
              <a:off x="4936" y="353"/>
              <a:ext cx="104" cy="104"/>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sp>
          <p:nvSpPr>
            <p:cNvPr id="98" name="Legend3"/>
            <p:cNvSpPr>
              <a:spLocks noChangeArrowheads="1"/>
            </p:cNvSpPr>
            <p:nvPr/>
          </p:nvSpPr>
          <p:spPr bwMode="gray">
            <a:xfrm>
              <a:off x="5096" y="517"/>
              <a:ext cx="372"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99" name="LegendRectangle3"/>
            <p:cNvSpPr>
              <a:spLocks noChangeArrowheads="1"/>
            </p:cNvSpPr>
            <p:nvPr/>
          </p:nvSpPr>
          <p:spPr bwMode="gray">
            <a:xfrm>
              <a:off x="4936" y="523"/>
              <a:ext cx="104" cy="104"/>
            </a:xfrm>
            <a:prstGeom prst="rect">
              <a:avLst/>
            </a:prstGeom>
            <a:solidFill>
              <a:schemeClr val="accent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sp>
          <p:nvSpPr>
            <p:cNvPr id="100" name="Legend4"/>
            <p:cNvSpPr>
              <a:spLocks noChangeArrowheads="1"/>
            </p:cNvSpPr>
            <p:nvPr/>
          </p:nvSpPr>
          <p:spPr bwMode="gray">
            <a:xfrm>
              <a:off x="5096" y="688"/>
              <a:ext cx="372"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101" name="LegendRectangle4"/>
            <p:cNvSpPr>
              <a:spLocks noChangeArrowheads="1"/>
            </p:cNvSpPr>
            <p:nvPr/>
          </p:nvSpPr>
          <p:spPr bwMode="gray">
            <a:xfrm>
              <a:off x="4936" y="694"/>
              <a:ext cx="104" cy="104"/>
            </a:xfrm>
            <a:prstGeom prst="rect">
              <a:avLst/>
            </a:prstGeom>
            <a:solidFill>
              <a:schemeClr val="accent4"/>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grpSp>
      <p:grpSp>
        <p:nvGrpSpPr>
          <p:cNvPr id="102" name="LegendLines" hidden="1"/>
          <p:cNvGrpSpPr>
            <a:grpSpLocks/>
          </p:cNvGrpSpPr>
          <p:nvPr/>
        </p:nvGrpSpPr>
        <p:grpSpPr bwMode="gray">
          <a:xfrm>
            <a:off x="10777928" y="744393"/>
            <a:ext cx="1175952" cy="749943"/>
            <a:chOff x="4750" y="176"/>
            <a:chExt cx="726" cy="463"/>
          </a:xfrm>
        </p:grpSpPr>
        <p:sp>
          <p:nvSpPr>
            <p:cNvPr id="103" name="LineLegend1"/>
            <p:cNvSpPr>
              <a:spLocks noChangeShapeType="1"/>
            </p:cNvSpPr>
            <p:nvPr/>
          </p:nvSpPr>
          <p:spPr bwMode="gray">
            <a:xfrm>
              <a:off x="4750" y="234"/>
              <a:ext cx="288" cy="0"/>
            </a:xfrm>
            <a:prstGeom prst="line">
              <a:avLst/>
            </a:prstGeom>
            <a:noFill/>
            <a:ln w="2857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fr-FR" sz="1224" noProof="0" dirty="0">
                <a:latin typeface="+mn-lt"/>
                <a:ea typeface="+mn-ea"/>
                <a:cs typeface="+mn-cs"/>
                <a:sym typeface="+mn-lt"/>
              </a:endParaRPr>
            </a:p>
          </p:txBody>
        </p:sp>
        <p:sp>
          <p:nvSpPr>
            <p:cNvPr id="104" name="LineLegend2"/>
            <p:cNvSpPr>
              <a:spLocks noChangeShapeType="1"/>
            </p:cNvSpPr>
            <p:nvPr/>
          </p:nvSpPr>
          <p:spPr bwMode="gray">
            <a:xfrm>
              <a:off x="4750" y="406"/>
              <a:ext cx="288" cy="0"/>
            </a:xfrm>
            <a:prstGeom prst="line">
              <a:avLst/>
            </a:prstGeom>
            <a:noFill/>
            <a:ln w="28575">
              <a:solidFill>
                <a:schemeClr val="accent6"/>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fr-FR" sz="1224" noProof="0" dirty="0">
                <a:latin typeface="+mn-lt"/>
                <a:ea typeface="+mn-ea"/>
                <a:cs typeface="+mn-cs"/>
                <a:sym typeface="+mn-lt"/>
              </a:endParaRPr>
            </a:p>
          </p:txBody>
        </p:sp>
        <p:sp>
          <p:nvSpPr>
            <p:cNvPr id="105" name="LineLegend3"/>
            <p:cNvSpPr>
              <a:spLocks noChangeShapeType="1"/>
            </p:cNvSpPr>
            <p:nvPr/>
          </p:nvSpPr>
          <p:spPr bwMode="gray">
            <a:xfrm>
              <a:off x="4750" y="578"/>
              <a:ext cx="288" cy="0"/>
            </a:xfrm>
            <a:prstGeom prst="line">
              <a:avLst/>
            </a:prstGeom>
            <a:noFill/>
            <a:ln w="28575">
              <a:solidFill>
                <a:schemeClr val="accent6"/>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fr-FR" sz="1224" noProof="0" dirty="0">
                <a:latin typeface="+mn-lt"/>
                <a:ea typeface="+mn-ea"/>
                <a:cs typeface="+mn-cs"/>
                <a:sym typeface="+mn-lt"/>
              </a:endParaRPr>
            </a:p>
          </p:txBody>
        </p:sp>
        <p:sp>
          <p:nvSpPr>
            <p:cNvPr id="106" name="Legend1"/>
            <p:cNvSpPr>
              <a:spLocks noChangeArrowheads="1"/>
            </p:cNvSpPr>
            <p:nvPr/>
          </p:nvSpPr>
          <p:spPr bwMode="gray">
            <a:xfrm>
              <a:off x="5104" y="176"/>
              <a:ext cx="372"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107" name="Legend2"/>
            <p:cNvSpPr>
              <a:spLocks noChangeArrowheads="1"/>
            </p:cNvSpPr>
            <p:nvPr/>
          </p:nvSpPr>
          <p:spPr bwMode="gray">
            <a:xfrm>
              <a:off x="5104" y="348"/>
              <a:ext cx="372"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108" name="Legend3"/>
            <p:cNvSpPr>
              <a:spLocks noChangeArrowheads="1"/>
            </p:cNvSpPr>
            <p:nvPr/>
          </p:nvSpPr>
          <p:spPr bwMode="gray">
            <a:xfrm>
              <a:off x="5104" y="520"/>
              <a:ext cx="372"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grpSp>
      <p:grpSp>
        <p:nvGrpSpPr>
          <p:cNvPr id="109" name="Sticker" hidden="1"/>
          <p:cNvGrpSpPr/>
          <p:nvPr/>
        </p:nvGrpSpPr>
        <p:grpSpPr bwMode="gray">
          <a:xfrm>
            <a:off x="11331265" y="742496"/>
            <a:ext cx="627478" cy="250146"/>
            <a:chOff x="8125798" y="283891"/>
            <a:chExt cx="614977" cy="245166"/>
          </a:xfrm>
        </p:grpSpPr>
        <p:sp>
          <p:nvSpPr>
            <p:cNvPr id="110" name="StickerRectangle"/>
            <p:cNvSpPr>
              <a:spLocks noChangeArrowheads="1"/>
            </p:cNvSpPr>
            <p:nvPr/>
          </p:nvSpPr>
          <p:spPr bwMode="gray">
            <a:xfrm>
              <a:off x="8125798" y="283891"/>
              <a:ext cx="614977" cy="2451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913526">
                <a:buClr>
                  <a:schemeClr val="tx2"/>
                </a:buClr>
              </a:pPr>
              <a:r>
                <a:rPr lang="fr-FR" sz="1224" noProof="0" dirty="0">
                  <a:solidFill>
                    <a:schemeClr val="tx1"/>
                  </a:solidFill>
                  <a:latin typeface="+mn-lt"/>
                  <a:ea typeface="+mn-ea"/>
                  <a:cs typeface="+mn-cs"/>
                  <a:sym typeface="+mn-lt"/>
                </a:rPr>
                <a:t>STICKER</a:t>
              </a:r>
            </a:p>
          </p:txBody>
        </p:sp>
        <p:cxnSp>
          <p:nvCxnSpPr>
            <p:cNvPr id="111" name="AutoShape 32"/>
            <p:cNvCxnSpPr>
              <a:cxnSpLocks noChangeShapeType="1"/>
              <a:stCxn id="110" idx="4"/>
              <a:endCxn id="110" idx="6"/>
            </p:cNvCxnSpPr>
            <p:nvPr/>
          </p:nvCxnSpPr>
          <p:spPr bwMode="gray">
            <a:xfrm>
              <a:off x="8125798" y="529057"/>
              <a:ext cx="614977"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112" name="AutoShape 32"/>
            <p:cNvCxnSpPr>
              <a:cxnSpLocks noChangeShapeType="1"/>
              <a:stCxn id="110" idx="2"/>
              <a:endCxn id="110" idx="0"/>
            </p:cNvCxnSpPr>
            <p:nvPr userDrawn="1"/>
          </p:nvCxnSpPr>
          <p:spPr bwMode="gray">
            <a:xfrm>
              <a:off x="8125798" y="283891"/>
              <a:ext cx="614977"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5" name="LegendMoons" hidden="1">
            <a:extLst>
              <a:ext uri="{FF2B5EF4-FFF2-40B4-BE49-F238E27FC236}">
                <a16:creationId xmlns:a16="http://schemas.microsoft.com/office/drawing/2014/main" id="{93AB639B-F803-4F88-98C4-AD3F6514D825}"/>
              </a:ext>
            </a:extLst>
          </p:cNvPr>
          <p:cNvGrpSpPr/>
          <p:nvPr userDrawn="1"/>
        </p:nvGrpSpPr>
        <p:grpSpPr bwMode="gray">
          <a:xfrm>
            <a:off x="11024745" y="744393"/>
            <a:ext cx="929089" cy="1333317"/>
            <a:chOff x="9556679" y="3357986"/>
            <a:chExt cx="910580" cy="1306774"/>
          </a:xfrm>
        </p:grpSpPr>
        <p:grpSp>
          <p:nvGrpSpPr>
            <p:cNvPr id="114" name="MoonLegend1"/>
            <p:cNvGrpSpPr>
              <a:grpSpLocks noChangeAspect="1"/>
            </p:cNvGrpSpPr>
            <p:nvPr>
              <p:custDataLst>
                <p:tags r:id="rId32"/>
              </p:custDataLst>
            </p:nvPr>
          </p:nvGrpSpPr>
          <p:grpSpPr bwMode="gray">
            <a:xfrm>
              <a:off x="9556679" y="3357986"/>
              <a:ext cx="209550" cy="209551"/>
              <a:chOff x="4533" y="183"/>
              <a:chExt cx="144" cy="144"/>
            </a:xfrm>
          </p:grpSpPr>
          <p:sp>
            <p:nvSpPr>
              <p:cNvPr id="132" name="Oval 38"/>
              <p:cNvSpPr>
                <a:spLocks noChangeAspect="1" noChangeArrowheads="1"/>
              </p:cNvSpPr>
              <p:nvPr>
                <p:custDataLst>
                  <p:tags r:id="rId45"/>
                </p:custDataLst>
              </p:nvPr>
            </p:nvSpPr>
            <p:spPr bwMode="gray">
              <a:xfrm>
                <a:off x="4533" y="183"/>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sp>
            <p:nvSpPr>
              <p:cNvPr id="133" name="Arc 39"/>
              <p:cNvSpPr>
                <a:spLocks noChangeAspect="1"/>
              </p:cNvSpPr>
              <p:nvPr>
                <p:custDataLst>
                  <p:tags r:id="rId46"/>
                </p:custDataLst>
              </p:nvPr>
            </p:nvSpPr>
            <p:spPr bwMode="gray">
              <a:xfrm>
                <a:off x="4533" y="183"/>
                <a:ext cx="144" cy="144"/>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grpSp>
        <p:grpSp>
          <p:nvGrpSpPr>
            <p:cNvPr id="115" name="MoonLegend2"/>
            <p:cNvGrpSpPr>
              <a:grpSpLocks noChangeAspect="1"/>
            </p:cNvGrpSpPr>
            <p:nvPr>
              <p:custDataLst>
                <p:tags r:id="rId33"/>
              </p:custDataLst>
            </p:nvPr>
          </p:nvGrpSpPr>
          <p:grpSpPr bwMode="gray">
            <a:xfrm>
              <a:off x="9556679" y="3632292"/>
              <a:ext cx="209550" cy="209551"/>
              <a:chOff x="1694" y="2044"/>
              <a:chExt cx="160" cy="160"/>
            </a:xfrm>
          </p:grpSpPr>
          <p:sp>
            <p:nvSpPr>
              <p:cNvPr id="130" name="Oval 41"/>
              <p:cNvSpPr>
                <a:spLocks noChangeAspect="1" noChangeArrowheads="1"/>
              </p:cNvSpPr>
              <p:nvPr>
                <p:custDataLst>
                  <p:tags r:id="rId43"/>
                </p:custDataLst>
              </p:nvPr>
            </p:nvSpPr>
            <p:spPr bwMode="gray">
              <a:xfrm>
                <a:off x="1694" y="204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sp>
            <p:nvSpPr>
              <p:cNvPr id="131" name="Arc 42"/>
              <p:cNvSpPr>
                <a:spLocks noChangeAspect="1"/>
              </p:cNvSpPr>
              <p:nvPr>
                <p:custDataLst>
                  <p:tags r:id="rId44"/>
                </p:custDataLst>
              </p:nvPr>
            </p:nvSpPr>
            <p:spPr bwMode="gray">
              <a:xfrm>
                <a:off x="1694" y="2044"/>
                <a:ext cx="160" cy="160"/>
              </a:xfrm>
              <a:prstGeom prst="arc">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grpSp>
        <p:grpSp>
          <p:nvGrpSpPr>
            <p:cNvPr id="116" name="MoonLegend4"/>
            <p:cNvGrpSpPr>
              <a:grpSpLocks noChangeAspect="1"/>
            </p:cNvGrpSpPr>
            <p:nvPr>
              <p:custDataLst>
                <p:tags r:id="rId34"/>
              </p:custDataLst>
            </p:nvPr>
          </p:nvGrpSpPr>
          <p:grpSpPr bwMode="gray">
            <a:xfrm>
              <a:off x="9556679" y="4180904"/>
              <a:ext cx="209550" cy="209551"/>
              <a:chOff x="4495" y="1198"/>
              <a:chExt cx="160" cy="160"/>
            </a:xfrm>
          </p:grpSpPr>
          <p:sp>
            <p:nvSpPr>
              <p:cNvPr id="128" name="Oval 47"/>
              <p:cNvSpPr>
                <a:spLocks noChangeAspect="1" noChangeArrowheads="1"/>
              </p:cNvSpPr>
              <p:nvPr>
                <p:custDataLst>
                  <p:tags r:id="rId41"/>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sp>
            <p:nvSpPr>
              <p:cNvPr id="129" name="Arc 48"/>
              <p:cNvSpPr>
                <a:spLocks noChangeAspect="1"/>
              </p:cNvSpPr>
              <p:nvPr>
                <p:custDataLst>
                  <p:tags r:id="rId42"/>
                </p:custDataLst>
              </p:nvPr>
            </p:nvSpPr>
            <p:spPr bwMode="gray">
              <a:xfrm>
                <a:off x="4495" y="1198"/>
                <a:ext cx="160" cy="160"/>
              </a:xfrm>
              <a:prstGeom prst="arc">
                <a:avLst>
                  <a:gd name="adj1" fmla="val 16200000"/>
                  <a:gd name="adj2" fmla="val 108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grpSp>
        <p:grpSp>
          <p:nvGrpSpPr>
            <p:cNvPr id="117" name="MoonLegend5"/>
            <p:cNvGrpSpPr>
              <a:grpSpLocks noChangeAspect="1"/>
            </p:cNvGrpSpPr>
            <p:nvPr>
              <p:custDataLst>
                <p:tags r:id="rId35"/>
              </p:custDataLst>
            </p:nvPr>
          </p:nvGrpSpPr>
          <p:grpSpPr bwMode="gray">
            <a:xfrm>
              <a:off x="9556679" y="4455209"/>
              <a:ext cx="209550" cy="209551"/>
              <a:chOff x="4495" y="1440"/>
              <a:chExt cx="160" cy="160"/>
            </a:xfrm>
          </p:grpSpPr>
          <p:sp>
            <p:nvSpPr>
              <p:cNvPr id="126" name="Oval 50"/>
              <p:cNvSpPr>
                <a:spLocks noChangeAspect="1" noChangeArrowheads="1"/>
              </p:cNvSpPr>
              <p:nvPr>
                <p:custDataLst>
                  <p:tags r:id="rId39"/>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sp>
            <p:nvSpPr>
              <p:cNvPr id="127" name="Oval 51"/>
              <p:cNvSpPr>
                <a:spLocks noChangeAspect="1" noChangeArrowheads="1"/>
              </p:cNvSpPr>
              <p:nvPr>
                <p:custDataLst>
                  <p:tags r:id="rId40"/>
                </p:custDataLst>
              </p:nvPr>
            </p:nvSpPr>
            <p:spPr bwMode="gray">
              <a:xfrm>
                <a:off x="4495" y="1440"/>
                <a:ext cx="160" cy="160"/>
              </a:xfrm>
              <a:prstGeom prst="arc">
                <a:avLst>
                  <a:gd name="adj1" fmla="val 16200000"/>
                  <a:gd name="adj2" fmla="val 162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grpSp>
        <p:sp>
          <p:nvSpPr>
            <p:cNvPr id="118" name="Legend1"/>
            <p:cNvSpPr>
              <a:spLocks noChangeArrowheads="1"/>
            </p:cNvSpPr>
            <p:nvPr/>
          </p:nvSpPr>
          <p:spPr bwMode="gray">
            <a:xfrm>
              <a:off x="9877354" y="3370429"/>
              <a:ext cx="589905"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119" name="Legend2"/>
            <p:cNvSpPr>
              <a:spLocks noChangeArrowheads="1"/>
            </p:cNvSpPr>
            <p:nvPr/>
          </p:nvSpPr>
          <p:spPr bwMode="gray">
            <a:xfrm>
              <a:off x="9877354" y="3644735"/>
              <a:ext cx="589905"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120" name="Legend3"/>
            <p:cNvSpPr>
              <a:spLocks noChangeArrowheads="1"/>
            </p:cNvSpPr>
            <p:nvPr/>
          </p:nvSpPr>
          <p:spPr bwMode="gray">
            <a:xfrm>
              <a:off x="9877354" y="3919041"/>
              <a:ext cx="589905"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121" name="Legend4"/>
            <p:cNvSpPr>
              <a:spLocks noChangeArrowheads="1"/>
            </p:cNvSpPr>
            <p:nvPr/>
          </p:nvSpPr>
          <p:spPr bwMode="gray">
            <a:xfrm>
              <a:off x="9877354" y="4193347"/>
              <a:ext cx="589905"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sp>
          <p:nvSpPr>
            <p:cNvPr id="122" name="Legend5"/>
            <p:cNvSpPr>
              <a:spLocks noChangeArrowheads="1"/>
            </p:cNvSpPr>
            <p:nvPr/>
          </p:nvSpPr>
          <p:spPr bwMode="gray">
            <a:xfrm>
              <a:off x="9877354" y="4467652"/>
              <a:ext cx="589905"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fr-FR" sz="1224" noProof="0" dirty="0">
                  <a:latin typeface="+mn-lt"/>
                  <a:ea typeface="+mn-ea"/>
                  <a:cs typeface="+mn-cs"/>
                  <a:sym typeface="+mn-lt"/>
                </a:rPr>
                <a:t>Légende</a:t>
              </a:r>
            </a:p>
          </p:txBody>
        </p:sp>
        <p:grpSp>
          <p:nvGrpSpPr>
            <p:cNvPr id="123" name="MoonLegend3"/>
            <p:cNvGrpSpPr>
              <a:grpSpLocks noChangeAspect="1"/>
            </p:cNvGrpSpPr>
            <p:nvPr>
              <p:custDataLst>
                <p:tags r:id="rId36"/>
              </p:custDataLst>
            </p:nvPr>
          </p:nvGrpSpPr>
          <p:grpSpPr bwMode="gray">
            <a:xfrm>
              <a:off x="9556679" y="3906598"/>
              <a:ext cx="209550" cy="209551"/>
              <a:chOff x="4495" y="1198"/>
              <a:chExt cx="160" cy="160"/>
            </a:xfrm>
          </p:grpSpPr>
          <p:sp>
            <p:nvSpPr>
              <p:cNvPr id="124" name="Oval 47"/>
              <p:cNvSpPr>
                <a:spLocks noChangeAspect="1" noChangeArrowheads="1"/>
              </p:cNvSpPr>
              <p:nvPr>
                <p:custDataLst>
                  <p:tags r:id="rId37"/>
                </p:custDataLst>
              </p:nvPr>
            </p:nvSpPr>
            <p:spPr bwMode="gray">
              <a:xfrm>
                <a:off x="4495" y="1198"/>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sp>
            <p:nvSpPr>
              <p:cNvPr id="125" name="Arc 48"/>
              <p:cNvSpPr>
                <a:spLocks noChangeAspect="1"/>
              </p:cNvSpPr>
              <p:nvPr>
                <p:custDataLst>
                  <p:tags r:id="rId38"/>
                </p:custDataLst>
              </p:nvPr>
            </p:nvSpPr>
            <p:spPr bwMode="gray">
              <a:xfrm>
                <a:off x="4495" y="1198"/>
                <a:ext cx="160" cy="160"/>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224" noProof="0" dirty="0">
                  <a:latin typeface="+mn-lt"/>
                  <a:ea typeface="+mn-ea"/>
                  <a:cs typeface="+mn-cs"/>
                  <a:sym typeface="+mn-lt"/>
                </a:endParaRPr>
              </a:p>
            </p:txBody>
          </p:sp>
        </p:grpSp>
      </p:grpSp>
      <p:grpSp>
        <p:nvGrpSpPr>
          <p:cNvPr id="134" name="Moon" hidden="1"/>
          <p:cNvGrpSpPr/>
          <p:nvPr userDrawn="1">
            <p:custDataLst>
              <p:tags r:id="rId12"/>
            </p:custDataLst>
          </p:nvPr>
        </p:nvGrpSpPr>
        <p:grpSpPr bwMode="gray">
          <a:xfrm>
            <a:off x="11699579" y="2479367"/>
            <a:ext cx="259163" cy="259159"/>
            <a:chOff x="762000" y="1270000"/>
            <a:chExt cx="254000" cy="254000"/>
          </a:xfrm>
        </p:grpSpPr>
        <p:sp>
          <p:nvSpPr>
            <p:cNvPr id="135" name="Oval 134"/>
            <p:cNvSpPr/>
            <p:nvPr/>
          </p:nvSpPr>
          <p:spPr bwMode="gray">
            <a:xfrm>
              <a:off x="762000" y="1270000"/>
              <a:ext cx="254000" cy="254000"/>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24" dirty="0">
                <a:solidFill>
                  <a:schemeClr val="tx1"/>
                </a:solidFill>
                <a:latin typeface="+mn-lt"/>
                <a:ea typeface="+mn-ea"/>
                <a:cs typeface="+mn-cs"/>
                <a:sym typeface="+mn-lt"/>
              </a:endParaRPr>
            </a:p>
          </p:txBody>
        </p:sp>
        <p:sp>
          <p:nvSpPr>
            <p:cNvPr id="136" name="Arc 135"/>
            <p:cNvSpPr/>
            <p:nvPr/>
          </p:nvSpPr>
          <p:spPr bwMode="gray">
            <a:xfrm>
              <a:off x="762000" y="1270000"/>
              <a:ext cx="254000" cy="254000"/>
            </a:xfrm>
            <a:prstGeom prst="arc">
              <a:avLst/>
            </a:prstGeom>
            <a:solidFill>
              <a:schemeClr val="accent4"/>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224" dirty="0">
                <a:latin typeface="+mn-lt"/>
                <a:ea typeface="+mn-ea"/>
                <a:cs typeface="+mn-cs"/>
                <a:sym typeface="+mn-lt"/>
              </a:endParaRPr>
            </a:p>
          </p:txBody>
        </p:sp>
      </p:grpSp>
      <p:sp>
        <p:nvSpPr>
          <p:cNvPr id="137" name="Oval" hidden="1"/>
          <p:cNvSpPr txBox="1">
            <a:spLocks/>
          </p:cNvSpPr>
          <p:nvPr userDrawn="1">
            <p:custDataLst>
              <p:tags r:id="rId13"/>
            </p:custDataLst>
          </p:nvPr>
        </p:nvSpPr>
        <p:spPr bwMode="gray">
          <a:xfrm>
            <a:off x="6638635" y="1990667"/>
            <a:ext cx="1554978" cy="1554955"/>
          </a:xfrm>
          <a:prstGeom prst="ellipse">
            <a:avLst/>
          </a:prstGeom>
          <a:solidFill>
            <a:schemeClr val="accent1"/>
          </a:solidFill>
          <a:ln w="9525">
            <a:solidFill>
              <a:schemeClr val="tx1"/>
            </a:solidFill>
            <a:miter lim="800000"/>
            <a:headEnd/>
            <a:tailEnd/>
          </a:ln>
          <a:effectLst/>
        </p:spPr>
        <p:txBody>
          <a:bodyPr vert="horz" wrap="square" lIns="36731" tIns="36731" rIns="36731" bIns="36731" numCol="1" anchor="ctr" anchorCtr="0" compatLnSpc="1">
            <a:prstTxWarp prst="textNoShape">
              <a:avLst/>
            </a:prstTxWarp>
            <a:noAutofit/>
          </a:bodyPr>
          <a:lstStyle>
            <a:defPPr>
              <a:defRPr lang="en-US"/>
            </a:defPPr>
            <a:lvl1pPr marL="0" lvl="0" indent="0" defTabSz="1193860" eaLnBrk="1" hangingPunct="1">
              <a:buClr>
                <a:schemeClr val="tx2"/>
              </a:buClr>
              <a:defRPr baseline="0">
                <a:latin typeface="+mn-lt"/>
              </a:defRPr>
            </a:lvl1pPr>
            <a:lvl2pPr marL="180000" lvl="1" indent="-180000" defTabSz="1193860" eaLnBrk="1" hangingPunct="1">
              <a:buClr>
                <a:schemeClr val="tx2"/>
              </a:buClr>
              <a:buSzPct val="125000"/>
              <a:buFont typeface="Arial" pitchFamily="34" charset="0"/>
              <a:buChar char="•"/>
              <a:defRPr baseline="0">
                <a:latin typeface="+mn-lt"/>
              </a:defRPr>
            </a:lvl2pPr>
            <a:lvl3pPr marL="360000" lvl="2" indent="-180000" defTabSz="1193860" eaLnBrk="1" hangingPunct="1">
              <a:buClr>
                <a:schemeClr val="tx2"/>
              </a:buClr>
              <a:buSzPct val="120000"/>
              <a:buFont typeface="Arial" charset="0"/>
              <a:buChar char="–"/>
              <a:defRPr baseline="0">
                <a:latin typeface="+mn-lt"/>
              </a:defRPr>
            </a:lvl3pPr>
            <a:lvl4pPr marL="540000" lvl="3" indent="-180000" defTabSz="1193860" eaLnBrk="1" hangingPunct="1">
              <a:buClr>
                <a:schemeClr val="tx2"/>
              </a:buClr>
              <a:buSzPct val="120000"/>
              <a:buFont typeface="Arial" pitchFamily="34" charset="0"/>
              <a:buChar char="◦"/>
              <a:defRPr baseline="0">
                <a:latin typeface="+mn-lt"/>
              </a:defRPr>
            </a:lvl4pPr>
            <a:lvl5pPr marL="720000" lvl="4" indent="-180000" defTabSz="1193860" eaLnBrk="1"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lgn="ctr"/>
            <a:r>
              <a:rPr lang="fr-FR" sz="1837" dirty="0" err="1">
                <a:latin typeface="+mn-lt"/>
                <a:ea typeface="+mn-ea"/>
                <a:cs typeface="+mn-cs"/>
                <a:sym typeface="+mn-lt"/>
              </a:rPr>
              <a:t>Text</a:t>
            </a:r>
            <a:endParaRPr lang="fr-FR" sz="1837" dirty="0">
              <a:latin typeface="+mn-lt"/>
              <a:ea typeface="+mn-ea"/>
              <a:cs typeface="+mn-cs"/>
              <a:sym typeface="+mn-lt"/>
            </a:endParaRPr>
          </a:p>
        </p:txBody>
      </p:sp>
      <p:sp>
        <p:nvSpPr>
          <p:cNvPr id="138" name="Body3" hidden="1"/>
          <p:cNvSpPr txBox="1">
            <a:spLocks/>
          </p:cNvSpPr>
          <p:nvPr userDrawn="1">
            <p:custDataLst>
              <p:tags r:id="rId14"/>
            </p:custDataLst>
          </p:nvPr>
        </p:nvSpPr>
        <p:spPr bwMode="gray">
          <a:xfrm>
            <a:off x="3252670" y="1990666"/>
            <a:ext cx="1554978" cy="1554955"/>
          </a:xfrm>
          <a:prstGeom prst="rect">
            <a:avLst/>
          </a:prstGeom>
          <a:solidFill>
            <a:schemeClr val="accent1"/>
          </a:solidFill>
          <a:ln w="9525">
            <a:solidFill>
              <a:schemeClr val="tx1"/>
            </a:solidFill>
            <a:miter lim="800000"/>
            <a:headEnd/>
            <a:tailEnd/>
          </a:ln>
          <a:effectLst/>
        </p:spPr>
        <p:txBody>
          <a:bodyPr vert="horz" wrap="square" lIns="73462" tIns="73462" rIns="73462" bIns="73462" numCol="1" anchor="t" anchorCtr="0" compatLnSpc="1">
            <a:prstTxWarp prst="textNoShape">
              <a:avLst/>
            </a:prstTxWarp>
            <a:noAutofit/>
          </a:bodyPr>
          <a:lstStyle>
            <a:lvl1pPr marL="0" lvl="0" indent="0" defTabSz="1193860" eaLnBrk="1" hangingPunct="1">
              <a:buClr>
                <a:schemeClr val="tx2"/>
              </a:buClr>
              <a:defRPr baseline="0">
                <a:latin typeface="+mn-lt"/>
              </a:defRPr>
            </a:lvl1pPr>
            <a:lvl2pPr marL="180000" lvl="1" indent="-180000" defTabSz="1193860" eaLnBrk="1" hangingPunct="1">
              <a:buClr>
                <a:schemeClr val="tx2"/>
              </a:buClr>
              <a:buSzPct val="125000"/>
              <a:buFont typeface="Arial" pitchFamily="34" charset="0"/>
              <a:buChar char="•"/>
              <a:defRPr baseline="0">
                <a:latin typeface="+mn-lt"/>
              </a:defRPr>
            </a:lvl2pPr>
            <a:lvl3pPr marL="360000" lvl="2" indent="-180000" defTabSz="1193860" eaLnBrk="1" hangingPunct="1">
              <a:buClr>
                <a:schemeClr val="tx2"/>
              </a:buClr>
              <a:buSzPct val="120000"/>
              <a:buFont typeface="Arial" charset="0"/>
              <a:buChar char="–"/>
              <a:defRPr baseline="0">
                <a:latin typeface="+mn-lt"/>
              </a:defRPr>
            </a:lvl3pPr>
            <a:lvl4pPr marL="540000" lvl="3" indent="-180000" defTabSz="1193860" eaLnBrk="1" hangingPunct="1">
              <a:buClr>
                <a:schemeClr val="tx2"/>
              </a:buClr>
              <a:buSzPct val="120000"/>
              <a:buFont typeface="Arial" pitchFamily="34" charset="0"/>
              <a:buChar char="◦"/>
              <a:defRPr baseline="0">
                <a:latin typeface="+mn-lt"/>
              </a:defRPr>
            </a:lvl4pPr>
            <a:lvl5pPr marL="720000" lvl="4" indent="-180000" defTabSz="1193860" eaLnBrk="1"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r>
              <a:rPr lang="fr-FR" sz="1837" dirty="0" err="1">
                <a:latin typeface="+mn-lt"/>
                <a:ea typeface="+mn-ea"/>
                <a:cs typeface="+mn-cs"/>
                <a:sym typeface="+mn-lt"/>
              </a:rPr>
              <a:t>Text</a:t>
            </a:r>
            <a:endParaRPr lang="fr-FR" sz="1837" dirty="0">
              <a:latin typeface="+mn-lt"/>
              <a:ea typeface="+mn-ea"/>
              <a:cs typeface="+mn-cs"/>
              <a:sym typeface="+mn-lt"/>
            </a:endParaRPr>
          </a:p>
        </p:txBody>
      </p:sp>
      <p:sp>
        <p:nvSpPr>
          <p:cNvPr id="139" name="RoundedRectangle" hidden="1"/>
          <p:cNvSpPr txBox="1">
            <a:spLocks/>
          </p:cNvSpPr>
          <p:nvPr userDrawn="1">
            <p:custDataLst>
              <p:tags r:id="rId15"/>
            </p:custDataLst>
          </p:nvPr>
        </p:nvSpPr>
        <p:spPr bwMode="gray">
          <a:xfrm>
            <a:off x="4945652" y="1990666"/>
            <a:ext cx="1554978" cy="1554955"/>
          </a:xfrm>
          <a:prstGeom prst="roundRect">
            <a:avLst/>
          </a:prstGeom>
          <a:solidFill>
            <a:schemeClr val="accent1"/>
          </a:solidFill>
          <a:ln w="9525">
            <a:solidFill>
              <a:schemeClr val="tx1"/>
            </a:solidFill>
            <a:miter lim="800000"/>
            <a:headEnd/>
            <a:tailEnd/>
          </a:ln>
          <a:effectLst/>
        </p:spPr>
        <p:txBody>
          <a:bodyPr vert="horz" wrap="square" lIns="73462" tIns="73462" rIns="73462" bIns="73462" numCol="1" anchor="t" anchorCtr="0" compatLnSpc="1">
            <a:prstTxWarp prst="textNoShape">
              <a:avLst/>
            </a:prstTxWarp>
            <a:noAutofit/>
          </a:bodyPr>
          <a:lstStyle>
            <a:lvl1pPr marL="0" lvl="0" indent="0" defTabSz="1193860" eaLnBrk="1" hangingPunct="1">
              <a:buClr>
                <a:schemeClr val="tx2"/>
              </a:buClr>
              <a:defRPr baseline="0">
                <a:latin typeface="+mn-lt"/>
              </a:defRPr>
            </a:lvl1pPr>
            <a:lvl2pPr marL="180000" lvl="1" indent="-180000" defTabSz="1193860" eaLnBrk="1" hangingPunct="1">
              <a:buClr>
                <a:schemeClr val="tx2"/>
              </a:buClr>
              <a:buSzPct val="125000"/>
              <a:buFont typeface="Arial" pitchFamily="34" charset="0"/>
              <a:buChar char="•"/>
              <a:defRPr baseline="0">
                <a:latin typeface="+mn-lt"/>
              </a:defRPr>
            </a:lvl2pPr>
            <a:lvl3pPr marL="360000" lvl="2" indent="-180000" defTabSz="1193860" eaLnBrk="1" hangingPunct="1">
              <a:buClr>
                <a:schemeClr val="tx2"/>
              </a:buClr>
              <a:buSzPct val="120000"/>
              <a:buFont typeface="Arial" charset="0"/>
              <a:buChar char="–"/>
              <a:defRPr baseline="0">
                <a:latin typeface="+mn-lt"/>
              </a:defRPr>
            </a:lvl3pPr>
            <a:lvl4pPr marL="540000" lvl="3" indent="-180000" defTabSz="1193860" eaLnBrk="1" hangingPunct="1">
              <a:buClr>
                <a:schemeClr val="tx2"/>
              </a:buClr>
              <a:buSzPct val="120000"/>
              <a:buFont typeface="Arial" pitchFamily="34" charset="0"/>
              <a:buChar char="◦"/>
              <a:defRPr baseline="0">
                <a:latin typeface="+mn-lt"/>
              </a:defRPr>
            </a:lvl4pPr>
            <a:lvl5pPr marL="720000" lvl="4" indent="-180000" defTabSz="1193860" eaLnBrk="1"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r>
              <a:rPr lang="fr-FR" sz="1837" dirty="0" err="1">
                <a:latin typeface="+mn-lt"/>
                <a:ea typeface="+mn-ea"/>
                <a:cs typeface="+mn-cs"/>
                <a:sym typeface="+mn-lt"/>
              </a:rPr>
              <a:t>Text</a:t>
            </a:r>
            <a:endParaRPr lang="fr-FR" sz="1837" dirty="0">
              <a:latin typeface="+mn-lt"/>
              <a:ea typeface="+mn-ea"/>
              <a:cs typeface="+mn-cs"/>
              <a:sym typeface="+mn-lt"/>
            </a:endParaRPr>
          </a:p>
        </p:txBody>
      </p:sp>
      <p:sp>
        <p:nvSpPr>
          <p:cNvPr id="140" name="Arrow" hidden="1"/>
          <p:cNvSpPr txBox="1"/>
          <p:nvPr userDrawn="1">
            <p:custDataLst>
              <p:tags r:id="rId16"/>
            </p:custDataLst>
          </p:nvPr>
        </p:nvSpPr>
        <p:spPr bwMode="gray">
          <a:xfrm>
            <a:off x="3250429" y="4762932"/>
            <a:ext cx="1865974" cy="932973"/>
          </a:xfrm>
          <a:prstGeom prst="rightArrow">
            <a:avLst>
              <a:gd name="adj1" fmla="val 54000"/>
              <a:gd name="adj2" fmla="val 37678"/>
            </a:avLst>
          </a:prstGeom>
          <a:solidFill>
            <a:schemeClr val="accent1"/>
          </a:solidFill>
          <a:ln w="9525">
            <a:solidFill>
              <a:schemeClr val="tx1"/>
            </a:solidFill>
            <a:miter lim="800000"/>
            <a:headEnd/>
            <a:tailEnd/>
          </a:ln>
          <a:effectLst/>
        </p:spPr>
        <p:txBody>
          <a:bodyPr vert="horz" wrap="square" lIns="73462" tIns="0" rIns="0" bIns="0" numCol="1" anchor="ctr" anchorCtr="0" compatLnSpc="1">
            <a:prstTxWarp prst="textNoShape">
              <a:avLst/>
            </a:prstTxWarp>
            <a:noAutofit/>
          </a:bodyPr>
          <a:lstStyle>
            <a:defPPr>
              <a:defRPr lang="en-US"/>
            </a:defPPr>
            <a:lvl1pPr marL="0" lvl="0" indent="0" defTabSz="1193860" eaLnBrk="1" hangingPunct="1">
              <a:buClr>
                <a:schemeClr val="tx2"/>
              </a:buClr>
              <a:defRPr baseline="0">
                <a:latin typeface="+mn-lt"/>
              </a:defRPr>
            </a:lvl1pPr>
            <a:lvl2pPr marL="180000" lvl="1" indent="-180000" defTabSz="1193860" eaLnBrk="1" hangingPunct="1">
              <a:buClr>
                <a:schemeClr val="tx2"/>
              </a:buClr>
              <a:buSzPct val="125000"/>
              <a:buFont typeface="Arial" pitchFamily="34" charset="0"/>
              <a:buChar char="•"/>
              <a:defRPr baseline="0">
                <a:latin typeface="+mn-lt"/>
              </a:defRPr>
            </a:lvl2pPr>
            <a:lvl3pPr marL="360000" lvl="2" indent="-180000" defTabSz="1193860" eaLnBrk="1" hangingPunct="1">
              <a:buClr>
                <a:schemeClr val="tx2"/>
              </a:buClr>
              <a:buSzPct val="120000"/>
              <a:buFont typeface="Arial" charset="0"/>
              <a:buChar char="–"/>
              <a:defRPr baseline="0">
                <a:latin typeface="+mn-lt"/>
              </a:defRPr>
            </a:lvl3pPr>
            <a:lvl4pPr marL="540000" lvl="3" indent="-180000" defTabSz="1193860" eaLnBrk="1" hangingPunct="1">
              <a:buClr>
                <a:schemeClr val="tx2"/>
              </a:buClr>
              <a:buSzPct val="120000"/>
              <a:buFont typeface="Arial" pitchFamily="34" charset="0"/>
              <a:buChar char="◦"/>
              <a:defRPr baseline="0">
                <a:latin typeface="+mn-lt"/>
              </a:defRPr>
            </a:lvl4pPr>
            <a:lvl5pPr marL="720000" lvl="4" indent="-180000" defTabSz="1193860" eaLnBrk="1"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r>
              <a:rPr lang="fr-FR" sz="1837" dirty="0" err="1">
                <a:latin typeface="+mn-lt"/>
                <a:ea typeface="+mn-ea"/>
                <a:cs typeface="+mn-cs"/>
                <a:sym typeface="+mn-lt"/>
              </a:rPr>
              <a:t>Text</a:t>
            </a:r>
            <a:endParaRPr lang="fr-FR" sz="1837" dirty="0">
              <a:latin typeface="+mn-lt"/>
              <a:ea typeface="+mn-ea"/>
              <a:cs typeface="+mn-cs"/>
              <a:sym typeface="+mn-lt"/>
            </a:endParaRPr>
          </a:p>
        </p:txBody>
      </p:sp>
      <p:sp>
        <p:nvSpPr>
          <p:cNvPr id="141" name="DirArrow" hidden="1"/>
          <p:cNvSpPr>
            <a:spLocks noChangeArrowheads="1"/>
          </p:cNvSpPr>
          <p:nvPr userDrawn="1">
            <p:custDataLst>
              <p:tags r:id="rId17"/>
            </p:custDataLst>
          </p:nvPr>
        </p:nvSpPr>
        <p:spPr bwMode="gray">
          <a:xfrm rot="5400000">
            <a:off x="6930088" y="3392198"/>
            <a:ext cx="3153449" cy="350388"/>
          </a:xfrm>
          <a:prstGeom prst="triangle">
            <a:avLst>
              <a:gd name="adj" fmla="val 50000"/>
            </a:avLst>
          </a:prstGeom>
          <a:solidFill>
            <a:schemeClr val="accent1"/>
          </a:solidFill>
          <a:ln w="9525">
            <a:solidFill>
              <a:schemeClr val="tx1"/>
            </a:solidFill>
            <a:miter lim="800000"/>
            <a:headEnd/>
            <a:tailEnd/>
          </a:ln>
          <a:effectLst/>
        </p:spPr>
        <p:txBody>
          <a:bodyPr wrap="none" anchor="ctr"/>
          <a:lstStyle/>
          <a:p>
            <a:endParaRPr lang="fr-FR" sz="1837" dirty="0">
              <a:latin typeface="+mn-lt"/>
              <a:ea typeface="+mn-ea"/>
              <a:cs typeface="+mn-cs"/>
              <a:sym typeface="+mn-lt"/>
            </a:endParaRPr>
          </a:p>
        </p:txBody>
      </p:sp>
      <p:grpSp>
        <p:nvGrpSpPr>
          <p:cNvPr id="143" name="Flow" hidden="1"/>
          <p:cNvGrpSpPr/>
          <p:nvPr userDrawn="1">
            <p:custDataLst>
              <p:tags r:id="rId18"/>
            </p:custDataLst>
          </p:nvPr>
        </p:nvGrpSpPr>
        <p:grpSpPr bwMode="gray">
          <a:xfrm>
            <a:off x="3252670" y="3687790"/>
            <a:ext cx="1865974" cy="932973"/>
            <a:chOff x="5905500" y="3124200"/>
            <a:chExt cx="1828800" cy="914400"/>
          </a:xfrm>
        </p:grpSpPr>
        <p:sp>
          <p:nvSpPr>
            <p:cNvPr id="144" name="Freeform 143"/>
            <p:cNvSpPr/>
            <p:nvPr>
              <p:custDataLst>
                <p:tags r:id="rId30"/>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37" b="1" dirty="0">
                <a:solidFill>
                  <a:schemeClr val="tx1"/>
                </a:solidFill>
                <a:latin typeface="+mn-lt"/>
                <a:ea typeface="+mn-ea"/>
                <a:cs typeface="+mn-cs"/>
                <a:sym typeface="+mn-lt"/>
              </a:endParaRPr>
            </a:p>
          </p:txBody>
        </p:sp>
        <p:sp>
          <p:nvSpPr>
            <p:cNvPr id="145" name="TextBox 144"/>
            <p:cNvSpPr txBox="1"/>
            <p:nvPr>
              <p:custDataLst>
                <p:tags r:id="rId31"/>
              </p:custDataLst>
            </p:nvPr>
          </p:nvSpPr>
          <p:spPr bwMode="gray">
            <a:xfrm>
              <a:off x="5969000" y="3187700"/>
              <a:ext cx="1524000"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1193860" eaLnBrk="1" hangingPunct="1">
                <a:buClr>
                  <a:schemeClr val="tx2"/>
                </a:buClr>
                <a:defRPr baseline="0">
                  <a:latin typeface="+mn-lt"/>
                </a:defRPr>
              </a:lvl1pPr>
              <a:lvl2pPr marL="180000" lvl="1" indent="-180000" defTabSz="1193860" eaLnBrk="1" hangingPunct="1">
                <a:buClr>
                  <a:schemeClr val="tx2"/>
                </a:buClr>
                <a:buSzPct val="125000"/>
                <a:buFont typeface="Arial" pitchFamily="34" charset="0"/>
                <a:buChar char="•"/>
                <a:defRPr baseline="0">
                  <a:latin typeface="+mn-lt"/>
                </a:defRPr>
              </a:lvl2pPr>
              <a:lvl3pPr marL="360000" lvl="2" indent="-180000" defTabSz="1193860" eaLnBrk="1" hangingPunct="1">
                <a:buClr>
                  <a:schemeClr val="tx2"/>
                </a:buClr>
                <a:buSzPct val="120000"/>
                <a:buFont typeface="Arial" charset="0"/>
                <a:buChar char="–"/>
                <a:defRPr baseline="0">
                  <a:latin typeface="+mn-lt"/>
                </a:defRPr>
              </a:lvl3pPr>
              <a:lvl4pPr marL="540000" lvl="3" indent="-180000" defTabSz="1193860" eaLnBrk="1" hangingPunct="1">
                <a:buClr>
                  <a:schemeClr val="tx2"/>
                </a:buClr>
                <a:buSzPct val="120000"/>
                <a:buFont typeface="Arial" pitchFamily="34" charset="0"/>
                <a:buChar char="◦"/>
                <a:defRPr baseline="0">
                  <a:latin typeface="+mn-lt"/>
                </a:defRPr>
              </a:lvl4pPr>
              <a:lvl5pPr marL="720000" lvl="4" indent="-180000" defTabSz="1193860" eaLnBrk="1"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r>
                <a:rPr lang="fr-FR" sz="1837" b="1" dirty="0" err="1">
                  <a:latin typeface="+mn-lt"/>
                  <a:ea typeface="+mn-ea"/>
                  <a:cs typeface="+mn-cs"/>
                  <a:sym typeface="+mn-lt"/>
                </a:rPr>
                <a:t>Text</a:t>
              </a:r>
              <a:endParaRPr lang="fr-FR" sz="1837" b="1" dirty="0">
                <a:latin typeface="+mn-lt"/>
                <a:ea typeface="+mn-ea"/>
                <a:cs typeface="+mn-cs"/>
                <a:sym typeface="+mn-lt"/>
              </a:endParaRPr>
            </a:p>
          </p:txBody>
        </p:sp>
      </p:grpSp>
      <p:grpSp>
        <p:nvGrpSpPr>
          <p:cNvPr id="146" name="SplitFlow" hidden="1"/>
          <p:cNvGrpSpPr/>
          <p:nvPr userDrawn="1">
            <p:custDataLst>
              <p:tags r:id="rId19"/>
            </p:custDataLst>
          </p:nvPr>
        </p:nvGrpSpPr>
        <p:grpSpPr bwMode="gray">
          <a:xfrm>
            <a:off x="5298241" y="3687790"/>
            <a:ext cx="1865974" cy="932973"/>
            <a:chOff x="114300" y="1270000"/>
            <a:chExt cx="1828800" cy="914400"/>
          </a:xfrm>
        </p:grpSpPr>
        <p:sp>
          <p:nvSpPr>
            <p:cNvPr id="147" name="Freeform 146"/>
            <p:cNvSpPr/>
            <p:nvPr>
              <p:custDataLst>
                <p:tags r:id="rId26"/>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37" b="1" dirty="0">
                <a:solidFill>
                  <a:schemeClr val="tx1"/>
                </a:solidFill>
                <a:latin typeface="+mn-lt"/>
                <a:ea typeface="+mn-ea"/>
                <a:cs typeface="+mn-cs"/>
                <a:sym typeface="+mn-lt"/>
              </a:endParaRPr>
            </a:p>
          </p:txBody>
        </p:sp>
        <p:sp>
          <p:nvSpPr>
            <p:cNvPr id="148" name="TextBox 147"/>
            <p:cNvSpPr txBox="1"/>
            <p:nvPr>
              <p:custDataLst>
                <p:tags r:id="rId27"/>
              </p:custDataLst>
            </p:nvPr>
          </p:nvSpPr>
          <p:spPr bwMode="gray">
            <a:xfrm>
              <a:off x="177800" y="13271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1193860" eaLnBrk="1" hangingPunct="1">
                <a:buClr>
                  <a:schemeClr val="tx2"/>
                </a:buClr>
                <a:defRPr baseline="0">
                  <a:latin typeface="+mn-lt"/>
                </a:defRPr>
              </a:lvl1pPr>
              <a:lvl2pPr marL="180000" lvl="1" indent="-180000" defTabSz="1193860" eaLnBrk="1" hangingPunct="1">
                <a:buClr>
                  <a:schemeClr val="tx2"/>
                </a:buClr>
                <a:buSzPct val="125000"/>
                <a:buFont typeface="Arial" pitchFamily="34" charset="0"/>
                <a:buChar char="•"/>
                <a:defRPr baseline="0">
                  <a:latin typeface="+mn-lt"/>
                </a:defRPr>
              </a:lvl2pPr>
              <a:lvl3pPr marL="360000" lvl="2" indent="-180000" defTabSz="1193860" eaLnBrk="1" hangingPunct="1">
                <a:buClr>
                  <a:schemeClr val="tx2"/>
                </a:buClr>
                <a:buSzPct val="120000"/>
                <a:buFont typeface="Arial" charset="0"/>
                <a:buChar char="–"/>
                <a:defRPr baseline="0">
                  <a:latin typeface="+mn-lt"/>
                </a:defRPr>
              </a:lvl3pPr>
              <a:lvl4pPr marL="540000" lvl="3" indent="-180000" defTabSz="1193860" eaLnBrk="1" hangingPunct="1">
                <a:buClr>
                  <a:schemeClr val="tx2"/>
                </a:buClr>
                <a:buSzPct val="120000"/>
                <a:buFont typeface="Arial" pitchFamily="34" charset="0"/>
                <a:buChar char="◦"/>
                <a:defRPr baseline="0">
                  <a:latin typeface="+mn-lt"/>
                </a:defRPr>
              </a:lvl4pPr>
              <a:lvl5pPr marL="720000" lvl="4" indent="-180000" defTabSz="1193860" eaLnBrk="1"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r>
                <a:rPr lang="fr-FR" sz="1837" b="1" dirty="0" err="1">
                  <a:latin typeface="+mn-lt"/>
                  <a:ea typeface="+mn-ea"/>
                  <a:cs typeface="+mn-cs"/>
                  <a:sym typeface="+mn-lt"/>
                </a:rPr>
                <a:t>Text</a:t>
              </a:r>
              <a:endParaRPr lang="fr-FR" sz="1837" b="1" dirty="0">
                <a:latin typeface="+mn-lt"/>
                <a:ea typeface="+mn-ea"/>
                <a:cs typeface="+mn-cs"/>
                <a:sym typeface="+mn-lt"/>
              </a:endParaRPr>
            </a:p>
          </p:txBody>
        </p:sp>
        <p:sp>
          <p:nvSpPr>
            <p:cNvPr id="149" name="Freeform 148"/>
            <p:cNvSpPr/>
            <p:nvPr>
              <p:custDataLst>
                <p:tags r:id="rId28"/>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37" b="1" dirty="0">
                <a:solidFill>
                  <a:schemeClr val="tx1"/>
                </a:solidFill>
                <a:latin typeface="+mn-lt"/>
                <a:ea typeface="+mn-ea"/>
                <a:cs typeface="+mn-cs"/>
                <a:sym typeface="+mn-lt"/>
              </a:endParaRPr>
            </a:p>
          </p:txBody>
        </p:sp>
        <p:sp>
          <p:nvSpPr>
            <p:cNvPr id="150" name="TextBox 149"/>
            <p:cNvSpPr txBox="1"/>
            <p:nvPr>
              <p:custDataLst>
                <p:tags r:id="rId29"/>
              </p:custDataLst>
            </p:nvPr>
          </p:nvSpPr>
          <p:spPr bwMode="gray">
            <a:xfrm>
              <a:off x="177800" y="17843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1193860" eaLnBrk="1" hangingPunct="1">
                <a:buClr>
                  <a:schemeClr val="tx2"/>
                </a:buClr>
                <a:defRPr baseline="0">
                  <a:latin typeface="+mn-lt"/>
                </a:defRPr>
              </a:lvl1pPr>
              <a:lvl2pPr marL="180000" lvl="1" indent="-180000" defTabSz="1193860" eaLnBrk="1" hangingPunct="1">
                <a:buClr>
                  <a:schemeClr val="tx2"/>
                </a:buClr>
                <a:buSzPct val="125000"/>
                <a:buFont typeface="Arial" pitchFamily="34" charset="0"/>
                <a:buChar char="•"/>
                <a:defRPr baseline="0">
                  <a:latin typeface="+mn-lt"/>
                </a:defRPr>
              </a:lvl2pPr>
              <a:lvl3pPr marL="360000" lvl="2" indent="-180000" defTabSz="1193860" eaLnBrk="1" hangingPunct="1">
                <a:buClr>
                  <a:schemeClr val="tx2"/>
                </a:buClr>
                <a:buSzPct val="120000"/>
                <a:buFont typeface="Arial" charset="0"/>
                <a:buChar char="–"/>
                <a:defRPr baseline="0">
                  <a:latin typeface="+mn-lt"/>
                </a:defRPr>
              </a:lvl3pPr>
              <a:lvl4pPr marL="540000" lvl="3" indent="-180000" defTabSz="1193860" eaLnBrk="1" hangingPunct="1">
                <a:buClr>
                  <a:schemeClr val="tx2"/>
                </a:buClr>
                <a:buSzPct val="120000"/>
                <a:buFont typeface="Arial" pitchFamily="34" charset="0"/>
                <a:buChar char="◦"/>
                <a:defRPr baseline="0">
                  <a:latin typeface="+mn-lt"/>
                </a:defRPr>
              </a:lvl4pPr>
              <a:lvl5pPr marL="720000" lvl="4" indent="-180000" defTabSz="1193860" eaLnBrk="1" hangingPunct="1">
                <a:buClr>
                  <a:schemeClr val="tx2"/>
                </a:buClr>
                <a:buSzPct val="89000"/>
                <a:buFont typeface="Arial" charset="0"/>
                <a:buChar char="-"/>
                <a:defRPr baseline="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r>
                <a:rPr lang="fr-FR" sz="1837" b="1" dirty="0" err="1">
                  <a:latin typeface="+mn-lt"/>
                  <a:ea typeface="+mn-ea"/>
                  <a:cs typeface="+mn-cs"/>
                  <a:sym typeface="+mn-lt"/>
                </a:rPr>
                <a:t>Text</a:t>
              </a:r>
              <a:endParaRPr lang="fr-FR" sz="1837" b="1" dirty="0">
                <a:latin typeface="+mn-lt"/>
                <a:ea typeface="+mn-ea"/>
                <a:cs typeface="+mn-cs"/>
                <a:sym typeface="+mn-lt"/>
              </a:endParaRPr>
            </a:p>
          </p:txBody>
        </p:sp>
      </p:grpSp>
      <p:sp>
        <p:nvSpPr>
          <p:cNvPr id="72" name="SingleChevron" hidden="1">
            <a:extLst>
              <a:ext uri="{FF2B5EF4-FFF2-40B4-BE49-F238E27FC236}">
                <a16:creationId xmlns:a16="http://schemas.microsoft.com/office/drawing/2014/main" id="{CFD5AFE5-CC7D-4FB1-A087-58F7234FB49B}"/>
              </a:ext>
            </a:extLst>
          </p:cNvPr>
          <p:cNvSpPr>
            <a:spLocks noChangeAspect="1"/>
          </p:cNvSpPr>
          <p:nvPr userDrawn="1">
            <p:custDataLst>
              <p:tags r:id="rId20"/>
            </p:custDataLst>
          </p:nvPr>
        </p:nvSpPr>
        <p:spPr bwMode="gray">
          <a:xfrm>
            <a:off x="5181194" y="4806387"/>
            <a:ext cx="680303" cy="1554955"/>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837" dirty="0">
              <a:solidFill>
                <a:schemeClr val="tx1"/>
              </a:solidFill>
              <a:latin typeface="+mn-lt"/>
              <a:ea typeface="+mn-ea"/>
              <a:cs typeface="+mn-cs"/>
              <a:sym typeface="+mn-lt"/>
            </a:endParaRPr>
          </a:p>
        </p:txBody>
      </p:sp>
      <p:grpSp>
        <p:nvGrpSpPr>
          <p:cNvPr id="73" name="DoubleChevron2" hidden="1">
            <a:extLst>
              <a:ext uri="{FF2B5EF4-FFF2-40B4-BE49-F238E27FC236}">
                <a16:creationId xmlns:a16="http://schemas.microsoft.com/office/drawing/2014/main" id="{1FBC2DCA-E208-40E8-8F09-4A1C8DC50063}"/>
              </a:ext>
            </a:extLst>
          </p:cNvPr>
          <p:cNvGrpSpPr>
            <a:grpSpLocks noChangeAspect="1"/>
          </p:cNvGrpSpPr>
          <p:nvPr userDrawn="1">
            <p:custDataLst>
              <p:tags r:id="rId21"/>
            </p:custDataLst>
          </p:nvPr>
        </p:nvGrpSpPr>
        <p:grpSpPr bwMode="gray">
          <a:xfrm>
            <a:off x="6475482" y="4806387"/>
            <a:ext cx="1268194" cy="1554955"/>
            <a:chOff x="1270000" y="1270000"/>
            <a:chExt cx="2951957" cy="3619500"/>
          </a:xfrm>
          <a:solidFill>
            <a:schemeClr val="accent1"/>
          </a:solidFill>
        </p:grpSpPr>
        <p:sp>
          <p:nvSpPr>
            <p:cNvPr id="74" name="Chevron1">
              <a:extLst>
                <a:ext uri="{FF2B5EF4-FFF2-40B4-BE49-F238E27FC236}">
                  <a16:creationId xmlns:a16="http://schemas.microsoft.com/office/drawing/2014/main" id="{2097777E-B149-4273-9309-E088098950FD}"/>
                </a:ext>
              </a:extLst>
            </p:cNvPr>
            <p:cNvSpPr>
              <a:spLocks noChangeAspect="1"/>
            </p:cNvSpPr>
            <p:nvPr/>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837" dirty="0">
                <a:solidFill>
                  <a:schemeClr val="tx1"/>
                </a:solidFill>
                <a:latin typeface="+mn-lt"/>
                <a:ea typeface="+mn-ea"/>
                <a:cs typeface="+mn-cs"/>
                <a:sym typeface="+mn-lt"/>
              </a:endParaRPr>
            </a:p>
          </p:txBody>
        </p:sp>
        <p:sp>
          <p:nvSpPr>
            <p:cNvPr id="75" name="Chevron2">
              <a:extLst>
                <a:ext uri="{FF2B5EF4-FFF2-40B4-BE49-F238E27FC236}">
                  <a16:creationId xmlns:a16="http://schemas.microsoft.com/office/drawing/2014/main" id="{D044F81E-D42E-4361-ADB9-5B1D2619FFC2}"/>
                </a:ext>
              </a:extLst>
            </p:cNvPr>
            <p:cNvSpPr>
              <a:spLocks noChangeAspect="1"/>
            </p:cNvSpPr>
            <p:nvPr>
              <p:custDataLst>
                <p:tags r:id="rId25"/>
              </p:custDataLst>
            </p:nvPr>
          </p:nvSpPr>
          <p:spPr bwMode="gray">
            <a:xfrm>
              <a:off x="2095500" y="1270000"/>
              <a:ext cx="2126457" cy="36195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837" dirty="0">
                <a:solidFill>
                  <a:schemeClr val="tx1"/>
                </a:solidFill>
                <a:latin typeface="+mn-lt"/>
                <a:ea typeface="+mn-ea"/>
                <a:cs typeface="+mn-cs"/>
                <a:sym typeface="+mn-lt"/>
              </a:endParaRPr>
            </a:p>
          </p:txBody>
        </p:sp>
      </p:grpSp>
      <p:grpSp>
        <p:nvGrpSpPr>
          <p:cNvPr id="76" name="DoubleChevron" hidden="1">
            <a:extLst>
              <a:ext uri="{FF2B5EF4-FFF2-40B4-BE49-F238E27FC236}">
                <a16:creationId xmlns:a16="http://schemas.microsoft.com/office/drawing/2014/main" id="{D85098D3-9F28-4FED-BA27-5B4E44E0AFE4}"/>
              </a:ext>
            </a:extLst>
          </p:cNvPr>
          <p:cNvGrpSpPr>
            <a:grpSpLocks noChangeAspect="1"/>
          </p:cNvGrpSpPr>
          <p:nvPr userDrawn="1">
            <p:custDataLst>
              <p:tags r:id="rId22"/>
            </p:custDataLst>
          </p:nvPr>
        </p:nvGrpSpPr>
        <p:grpSpPr bwMode="gray">
          <a:xfrm>
            <a:off x="5651016" y="4806387"/>
            <a:ext cx="1034947" cy="1554955"/>
            <a:chOff x="1270000" y="1270000"/>
            <a:chExt cx="2409032" cy="3619500"/>
          </a:xfrm>
          <a:solidFill>
            <a:schemeClr val="accent1"/>
          </a:solidFill>
        </p:grpSpPr>
        <p:sp>
          <p:nvSpPr>
            <p:cNvPr id="78" name="Chevron1">
              <a:extLst>
                <a:ext uri="{FF2B5EF4-FFF2-40B4-BE49-F238E27FC236}">
                  <a16:creationId xmlns:a16="http://schemas.microsoft.com/office/drawing/2014/main" id="{CE8944BF-22D3-4A15-9B5A-6B27911D4251}"/>
                </a:ext>
              </a:extLst>
            </p:cNvPr>
            <p:cNvSpPr>
              <a:spLocks noChangeAspect="1"/>
            </p:cNvSpPr>
            <p:nvPr/>
          </p:nvSpPr>
          <p:spPr bwMode="gray">
            <a:xfrm>
              <a:off x="12700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837" dirty="0">
                <a:solidFill>
                  <a:schemeClr val="tx1"/>
                </a:solidFill>
                <a:latin typeface="+mn-lt"/>
                <a:ea typeface="+mn-ea"/>
                <a:cs typeface="+mn-cs"/>
                <a:sym typeface="+mn-lt"/>
              </a:endParaRPr>
            </a:p>
          </p:txBody>
        </p:sp>
        <p:sp>
          <p:nvSpPr>
            <p:cNvPr id="79" name="Chevron2">
              <a:extLst>
                <a:ext uri="{FF2B5EF4-FFF2-40B4-BE49-F238E27FC236}">
                  <a16:creationId xmlns:a16="http://schemas.microsoft.com/office/drawing/2014/main" id="{1860B34E-AF48-4E3A-BC9E-C7CF9D0E3AEF}"/>
                </a:ext>
              </a:extLst>
            </p:cNvPr>
            <p:cNvSpPr>
              <a:spLocks noChangeAspect="1"/>
            </p:cNvSpPr>
            <p:nvPr>
              <p:custDataLst>
                <p:tags r:id="rId24"/>
              </p:custDataLst>
            </p:nvPr>
          </p:nvSpPr>
          <p:spPr bwMode="gray">
            <a:xfrm>
              <a:off x="2095500" y="1270000"/>
              <a:ext cx="1583532" cy="3619500"/>
            </a:xfrm>
            <a:custGeom>
              <a:avLst/>
              <a:gdLst/>
              <a:ahLst/>
              <a:cxnLst/>
              <a:rect l="0" t="0" r="0" b="0"/>
              <a:pathLst>
                <a:path w="2222501" h="5080001">
                  <a:moveTo>
                    <a:pt x="0" y="0"/>
                  </a:moveTo>
                  <a:lnTo>
                    <a:pt x="762000" y="0"/>
                  </a:lnTo>
                  <a:lnTo>
                    <a:pt x="2222500" y="2540000"/>
                  </a:lnTo>
                  <a:lnTo>
                    <a:pt x="762000" y="5080000"/>
                  </a:lnTo>
                  <a:lnTo>
                    <a:pt x="0" y="5080000"/>
                  </a:lnTo>
                  <a:lnTo>
                    <a:pt x="1460500" y="25400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837" dirty="0">
                <a:solidFill>
                  <a:schemeClr val="tx1"/>
                </a:solidFill>
                <a:latin typeface="+mn-lt"/>
                <a:ea typeface="+mn-ea"/>
                <a:cs typeface="+mn-cs"/>
                <a:sym typeface="+mn-lt"/>
              </a:endParaRPr>
            </a:p>
          </p:txBody>
        </p:sp>
      </p:grpSp>
      <p:sp>
        <p:nvSpPr>
          <p:cNvPr id="80" name="Bracket" hidden="1">
            <a:extLst>
              <a:ext uri="{FF2B5EF4-FFF2-40B4-BE49-F238E27FC236}">
                <a16:creationId xmlns:a16="http://schemas.microsoft.com/office/drawing/2014/main" id="{4199AD2B-7E07-4AFE-A9B0-A509DBC7C910}"/>
              </a:ext>
            </a:extLst>
          </p:cNvPr>
          <p:cNvSpPr>
            <a:spLocks noChangeAspect="1"/>
          </p:cNvSpPr>
          <p:nvPr userDrawn="1">
            <p:custDataLst>
              <p:tags r:id="rId23"/>
            </p:custDataLst>
          </p:nvPr>
        </p:nvSpPr>
        <p:spPr bwMode="gray">
          <a:xfrm>
            <a:off x="7984404" y="3964119"/>
            <a:ext cx="194372" cy="1684536"/>
          </a:xfrm>
          <a:custGeom>
            <a:avLst/>
            <a:gdLst>
              <a:gd name="connsiteX0" fmla="*/ 0 w 273710"/>
              <a:gd name="connsiteY0" fmla="*/ 0 h 2908300"/>
              <a:gd name="connsiteX1" fmla="*/ 210210 w 273710"/>
              <a:gd name="connsiteY1" fmla="*/ 1257300 h 2908300"/>
              <a:gd name="connsiteX2" fmla="*/ 210210 w 273710"/>
              <a:gd name="connsiteY2" fmla="*/ 2019300 h 2908300"/>
              <a:gd name="connsiteX3" fmla="*/ 273710 w 273710"/>
              <a:gd name="connsiteY3" fmla="*/ 2082800 h 2908300"/>
              <a:gd name="connsiteX4" fmla="*/ 210210 w 273710"/>
              <a:gd name="connsiteY4" fmla="*/ 2146300 h 2908300"/>
              <a:gd name="connsiteX5" fmla="*/ 210210 w 273710"/>
              <a:gd name="connsiteY5" fmla="*/ 2908300 h 2908300"/>
              <a:gd name="connsiteX6" fmla="*/ 83210 w 273710"/>
              <a:gd name="connsiteY6" fmla="*/ 2908300 h 2908300"/>
              <a:gd name="connsiteX0" fmla="*/ 0 w 273710"/>
              <a:gd name="connsiteY0" fmla="*/ 0 h 2908300"/>
              <a:gd name="connsiteX1" fmla="*/ 10533 w 273710"/>
              <a:gd name="connsiteY1" fmla="*/ 0 h 2908300"/>
              <a:gd name="connsiteX2" fmla="*/ 210210 w 273710"/>
              <a:gd name="connsiteY2" fmla="*/ 2019300 h 2908300"/>
              <a:gd name="connsiteX3" fmla="*/ 273710 w 273710"/>
              <a:gd name="connsiteY3" fmla="*/ 2082800 h 2908300"/>
              <a:gd name="connsiteX4" fmla="*/ 210210 w 273710"/>
              <a:gd name="connsiteY4" fmla="*/ 2146300 h 2908300"/>
              <a:gd name="connsiteX5" fmla="*/ 210210 w 273710"/>
              <a:gd name="connsiteY5" fmla="*/ 2908300 h 2908300"/>
              <a:gd name="connsiteX6" fmla="*/ 83210 w 273710"/>
              <a:gd name="connsiteY6" fmla="*/ 2908300 h 2908300"/>
              <a:gd name="connsiteX0" fmla="*/ 0 w 273710"/>
              <a:gd name="connsiteY0" fmla="*/ 0 h 2908300"/>
              <a:gd name="connsiteX1" fmla="*/ 10533 w 273710"/>
              <a:gd name="connsiteY1" fmla="*/ 0 h 2908300"/>
              <a:gd name="connsiteX2" fmla="*/ 10533 w 273710"/>
              <a:gd name="connsiteY2" fmla="*/ 762000 h 2908300"/>
              <a:gd name="connsiteX3" fmla="*/ 273710 w 273710"/>
              <a:gd name="connsiteY3" fmla="*/ 2082800 h 2908300"/>
              <a:gd name="connsiteX4" fmla="*/ 210210 w 273710"/>
              <a:gd name="connsiteY4" fmla="*/ 2146300 h 2908300"/>
              <a:gd name="connsiteX5" fmla="*/ 210210 w 273710"/>
              <a:gd name="connsiteY5" fmla="*/ 2908300 h 2908300"/>
              <a:gd name="connsiteX6" fmla="*/ 83210 w 273710"/>
              <a:gd name="connsiteY6" fmla="*/ 2908300 h 2908300"/>
              <a:gd name="connsiteX0" fmla="*/ 0 w 210210"/>
              <a:gd name="connsiteY0" fmla="*/ 0 h 2908300"/>
              <a:gd name="connsiteX1" fmla="*/ 10533 w 210210"/>
              <a:gd name="connsiteY1" fmla="*/ 0 h 2908300"/>
              <a:gd name="connsiteX2" fmla="*/ 10533 w 210210"/>
              <a:gd name="connsiteY2" fmla="*/ 762000 h 2908300"/>
              <a:gd name="connsiteX3" fmla="*/ 15799 w 210210"/>
              <a:gd name="connsiteY3" fmla="*/ 825500 h 2908300"/>
              <a:gd name="connsiteX4" fmla="*/ 210210 w 210210"/>
              <a:gd name="connsiteY4" fmla="*/ 2146300 h 2908300"/>
              <a:gd name="connsiteX5" fmla="*/ 210210 w 210210"/>
              <a:gd name="connsiteY5" fmla="*/ 2908300 h 2908300"/>
              <a:gd name="connsiteX6" fmla="*/ 83210 w 210210"/>
              <a:gd name="connsiteY6" fmla="*/ 2908300 h 2908300"/>
              <a:gd name="connsiteX0" fmla="*/ 0 w 210210"/>
              <a:gd name="connsiteY0" fmla="*/ 0 h 2908300"/>
              <a:gd name="connsiteX1" fmla="*/ 10533 w 210210"/>
              <a:gd name="connsiteY1" fmla="*/ 0 h 2908300"/>
              <a:gd name="connsiteX2" fmla="*/ 10533 w 210210"/>
              <a:gd name="connsiteY2" fmla="*/ 762000 h 2908300"/>
              <a:gd name="connsiteX3" fmla="*/ 15799 w 210210"/>
              <a:gd name="connsiteY3" fmla="*/ 825500 h 2908300"/>
              <a:gd name="connsiteX4" fmla="*/ 10533 w 210210"/>
              <a:gd name="connsiteY4" fmla="*/ 889000 h 2908300"/>
              <a:gd name="connsiteX5" fmla="*/ 210210 w 210210"/>
              <a:gd name="connsiteY5" fmla="*/ 2908300 h 2908300"/>
              <a:gd name="connsiteX6" fmla="*/ 83210 w 210210"/>
              <a:gd name="connsiteY6" fmla="*/ 2908300 h 2908300"/>
              <a:gd name="connsiteX0" fmla="*/ 0 w 83210"/>
              <a:gd name="connsiteY0" fmla="*/ 0 h 2908300"/>
              <a:gd name="connsiteX1" fmla="*/ 10533 w 83210"/>
              <a:gd name="connsiteY1" fmla="*/ 0 h 2908300"/>
              <a:gd name="connsiteX2" fmla="*/ 10533 w 83210"/>
              <a:gd name="connsiteY2" fmla="*/ 762000 h 2908300"/>
              <a:gd name="connsiteX3" fmla="*/ 15799 w 83210"/>
              <a:gd name="connsiteY3" fmla="*/ 825500 h 2908300"/>
              <a:gd name="connsiteX4" fmla="*/ 10533 w 83210"/>
              <a:gd name="connsiteY4" fmla="*/ 889000 h 2908300"/>
              <a:gd name="connsiteX5" fmla="*/ 10533 w 83210"/>
              <a:gd name="connsiteY5" fmla="*/ 1651001 h 2908300"/>
              <a:gd name="connsiteX6" fmla="*/ 83210 w 83210"/>
              <a:gd name="connsiteY6" fmla="*/ 2908300 h 2908300"/>
              <a:gd name="connsiteX0" fmla="*/ 0 w 15799"/>
              <a:gd name="connsiteY0" fmla="*/ 0 h 1651001"/>
              <a:gd name="connsiteX1" fmla="*/ 10533 w 15799"/>
              <a:gd name="connsiteY1" fmla="*/ 0 h 1651001"/>
              <a:gd name="connsiteX2" fmla="*/ 10533 w 15799"/>
              <a:gd name="connsiteY2" fmla="*/ 762000 h 1651001"/>
              <a:gd name="connsiteX3" fmla="*/ 15799 w 15799"/>
              <a:gd name="connsiteY3" fmla="*/ 825500 h 1651001"/>
              <a:gd name="connsiteX4" fmla="*/ 10533 w 15799"/>
              <a:gd name="connsiteY4" fmla="*/ 889000 h 1651001"/>
              <a:gd name="connsiteX5" fmla="*/ 10533 w 15799"/>
              <a:gd name="connsiteY5" fmla="*/ 1651001 h 1651001"/>
              <a:gd name="connsiteX6" fmla="*/ 0 w 15799"/>
              <a:gd name="connsiteY6" fmla="*/ 1651001 h 1651001"/>
              <a:gd name="connsiteX0" fmla="*/ 0 w 376545"/>
              <a:gd name="connsiteY0" fmla="*/ 0 h 5536204"/>
              <a:gd name="connsiteX1" fmla="*/ 371279 w 376545"/>
              <a:gd name="connsiteY1" fmla="*/ 3885203 h 5536204"/>
              <a:gd name="connsiteX2" fmla="*/ 371279 w 376545"/>
              <a:gd name="connsiteY2" fmla="*/ 4647203 h 5536204"/>
              <a:gd name="connsiteX3" fmla="*/ 376545 w 376545"/>
              <a:gd name="connsiteY3" fmla="*/ 4710703 h 5536204"/>
              <a:gd name="connsiteX4" fmla="*/ 371279 w 376545"/>
              <a:gd name="connsiteY4" fmla="*/ 4774203 h 5536204"/>
              <a:gd name="connsiteX5" fmla="*/ 371279 w 376545"/>
              <a:gd name="connsiteY5" fmla="*/ 5536204 h 5536204"/>
              <a:gd name="connsiteX6" fmla="*/ 360746 w 376545"/>
              <a:gd name="connsiteY6" fmla="*/ 5536204 h 5536204"/>
              <a:gd name="connsiteX0" fmla="*/ 0 w 376545"/>
              <a:gd name="connsiteY0" fmla="*/ 0 h 5536204"/>
              <a:gd name="connsiteX1" fmla="*/ 5855 w 376545"/>
              <a:gd name="connsiteY1" fmla="*/ 0 h 5536204"/>
              <a:gd name="connsiteX2" fmla="*/ 371279 w 376545"/>
              <a:gd name="connsiteY2" fmla="*/ 4647203 h 5536204"/>
              <a:gd name="connsiteX3" fmla="*/ 376545 w 376545"/>
              <a:gd name="connsiteY3" fmla="*/ 4710703 h 5536204"/>
              <a:gd name="connsiteX4" fmla="*/ 371279 w 376545"/>
              <a:gd name="connsiteY4" fmla="*/ 4774203 h 5536204"/>
              <a:gd name="connsiteX5" fmla="*/ 371279 w 376545"/>
              <a:gd name="connsiteY5" fmla="*/ 5536204 h 5536204"/>
              <a:gd name="connsiteX6" fmla="*/ 360746 w 376545"/>
              <a:gd name="connsiteY6" fmla="*/ 5536204 h 5536204"/>
              <a:gd name="connsiteX0" fmla="*/ 0 w 376545"/>
              <a:gd name="connsiteY0" fmla="*/ 0 h 5536204"/>
              <a:gd name="connsiteX1" fmla="*/ 5855 w 376545"/>
              <a:gd name="connsiteY1" fmla="*/ 0 h 5536204"/>
              <a:gd name="connsiteX2" fmla="*/ 5855 w 376545"/>
              <a:gd name="connsiteY2" fmla="*/ 762000 h 5536204"/>
              <a:gd name="connsiteX3" fmla="*/ 376545 w 376545"/>
              <a:gd name="connsiteY3" fmla="*/ 4710703 h 5536204"/>
              <a:gd name="connsiteX4" fmla="*/ 371279 w 376545"/>
              <a:gd name="connsiteY4" fmla="*/ 4774203 h 5536204"/>
              <a:gd name="connsiteX5" fmla="*/ 371279 w 376545"/>
              <a:gd name="connsiteY5" fmla="*/ 5536204 h 5536204"/>
              <a:gd name="connsiteX6" fmla="*/ 360746 w 376545"/>
              <a:gd name="connsiteY6" fmla="*/ 5536204 h 5536204"/>
              <a:gd name="connsiteX0" fmla="*/ 0 w 371279"/>
              <a:gd name="connsiteY0" fmla="*/ 0 h 5536204"/>
              <a:gd name="connsiteX1" fmla="*/ 5855 w 371279"/>
              <a:gd name="connsiteY1" fmla="*/ 0 h 5536204"/>
              <a:gd name="connsiteX2" fmla="*/ 5855 w 371279"/>
              <a:gd name="connsiteY2" fmla="*/ 762000 h 5536204"/>
              <a:gd name="connsiteX3" fmla="*/ 8782 w 371279"/>
              <a:gd name="connsiteY3" fmla="*/ 825500 h 5536204"/>
              <a:gd name="connsiteX4" fmla="*/ 371279 w 371279"/>
              <a:gd name="connsiteY4" fmla="*/ 4774203 h 5536204"/>
              <a:gd name="connsiteX5" fmla="*/ 371279 w 371279"/>
              <a:gd name="connsiteY5" fmla="*/ 5536204 h 5536204"/>
              <a:gd name="connsiteX6" fmla="*/ 360746 w 371279"/>
              <a:gd name="connsiteY6" fmla="*/ 5536204 h 5536204"/>
              <a:gd name="connsiteX0" fmla="*/ 0 w 371279"/>
              <a:gd name="connsiteY0" fmla="*/ 0 h 5536204"/>
              <a:gd name="connsiteX1" fmla="*/ 5855 w 371279"/>
              <a:gd name="connsiteY1" fmla="*/ 0 h 5536204"/>
              <a:gd name="connsiteX2" fmla="*/ 5855 w 371279"/>
              <a:gd name="connsiteY2" fmla="*/ 762000 h 5536204"/>
              <a:gd name="connsiteX3" fmla="*/ 8782 w 371279"/>
              <a:gd name="connsiteY3" fmla="*/ 825500 h 5536204"/>
              <a:gd name="connsiteX4" fmla="*/ 5855 w 371279"/>
              <a:gd name="connsiteY4" fmla="*/ 889000 h 5536204"/>
              <a:gd name="connsiteX5" fmla="*/ 371279 w 371279"/>
              <a:gd name="connsiteY5" fmla="*/ 5536204 h 5536204"/>
              <a:gd name="connsiteX6" fmla="*/ 360746 w 371279"/>
              <a:gd name="connsiteY6" fmla="*/ 5536204 h 5536204"/>
              <a:gd name="connsiteX0" fmla="*/ 0 w 360746"/>
              <a:gd name="connsiteY0" fmla="*/ 0 h 5536204"/>
              <a:gd name="connsiteX1" fmla="*/ 5855 w 360746"/>
              <a:gd name="connsiteY1" fmla="*/ 0 h 5536204"/>
              <a:gd name="connsiteX2" fmla="*/ 5855 w 360746"/>
              <a:gd name="connsiteY2" fmla="*/ 762000 h 5536204"/>
              <a:gd name="connsiteX3" fmla="*/ 8782 w 360746"/>
              <a:gd name="connsiteY3" fmla="*/ 825500 h 5536204"/>
              <a:gd name="connsiteX4" fmla="*/ 5855 w 360746"/>
              <a:gd name="connsiteY4" fmla="*/ 889000 h 5536204"/>
              <a:gd name="connsiteX5" fmla="*/ 5855 w 360746"/>
              <a:gd name="connsiteY5" fmla="*/ 1651001 h 5536204"/>
              <a:gd name="connsiteX6" fmla="*/ 360746 w 360746"/>
              <a:gd name="connsiteY6" fmla="*/ 5536204 h 5536204"/>
              <a:gd name="connsiteX0" fmla="*/ 0 w 8782"/>
              <a:gd name="connsiteY0" fmla="*/ 0 h 1651001"/>
              <a:gd name="connsiteX1" fmla="*/ 5855 w 8782"/>
              <a:gd name="connsiteY1" fmla="*/ 0 h 1651001"/>
              <a:gd name="connsiteX2" fmla="*/ 5855 w 8782"/>
              <a:gd name="connsiteY2" fmla="*/ 762000 h 1651001"/>
              <a:gd name="connsiteX3" fmla="*/ 8782 w 8782"/>
              <a:gd name="connsiteY3" fmla="*/ 825500 h 1651001"/>
              <a:gd name="connsiteX4" fmla="*/ 5855 w 8782"/>
              <a:gd name="connsiteY4" fmla="*/ 889000 h 1651001"/>
              <a:gd name="connsiteX5" fmla="*/ 5855 w 8782"/>
              <a:gd name="connsiteY5" fmla="*/ 1651001 h 1651001"/>
              <a:gd name="connsiteX6" fmla="*/ 1 w 8782"/>
              <a:gd name="connsiteY6" fmla="*/ 1651001 h 1651001"/>
              <a:gd name="connsiteX0" fmla="*/ 0 w 369528"/>
              <a:gd name="connsiteY0" fmla="*/ 0 h 5536204"/>
              <a:gd name="connsiteX1" fmla="*/ 366601 w 369528"/>
              <a:gd name="connsiteY1" fmla="*/ 3885203 h 5536204"/>
              <a:gd name="connsiteX2" fmla="*/ 366601 w 369528"/>
              <a:gd name="connsiteY2" fmla="*/ 4647203 h 5536204"/>
              <a:gd name="connsiteX3" fmla="*/ 369528 w 369528"/>
              <a:gd name="connsiteY3" fmla="*/ 4710703 h 5536204"/>
              <a:gd name="connsiteX4" fmla="*/ 366601 w 369528"/>
              <a:gd name="connsiteY4" fmla="*/ 4774203 h 5536204"/>
              <a:gd name="connsiteX5" fmla="*/ 366601 w 369528"/>
              <a:gd name="connsiteY5" fmla="*/ 5536204 h 5536204"/>
              <a:gd name="connsiteX6" fmla="*/ 360747 w 369528"/>
              <a:gd name="connsiteY6" fmla="*/ 5536204 h 5536204"/>
              <a:gd name="connsiteX0" fmla="*/ 0 w 369528"/>
              <a:gd name="connsiteY0" fmla="*/ 0 h 5536204"/>
              <a:gd name="connsiteX1" fmla="*/ 5855 w 369528"/>
              <a:gd name="connsiteY1" fmla="*/ 0 h 5536204"/>
              <a:gd name="connsiteX2" fmla="*/ 366601 w 369528"/>
              <a:gd name="connsiteY2" fmla="*/ 4647203 h 5536204"/>
              <a:gd name="connsiteX3" fmla="*/ 369528 w 369528"/>
              <a:gd name="connsiteY3" fmla="*/ 4710703 h 5536204"/>
              <a:gd name="connsiteX4" fmla="*/ 366601 w 369528"/>
              <a:gd name="connsiteY4" fmla="*/ 4774203 h 5536204"/>
              <a:gd name="connsiteX5" fmla="*/ 366601 w 369528"/>
              <a:gd name="connsiteY5" fmla="*/ 5536204 h 5536204"/>
              <a:gd name="connsiteX6" fmla="*/ 360747 w 369528"/>
              <a:gd name="connsiteY6" fmla="*/ 5536204 h 5536204"/>
              <a:gd name="connsiteX0" fmla="*/ 0 w 369528"/>
              <a:gd name="connsiteY0" fmla="*/ 0 h 5536204"/>
              <a:gd name="connsiteX1" fmla="*/ 5855 w 369528"/>
              <a:gd name="connsiteY1" fmla="*/ 0 h 5536204"/>
              <a:gd name="connsiteX2" fmla="*/ 5855 w 369528"/>
              <a:gd name="connsiteY2" fmla="*/ 762000 h 5536204"/>
              <a:gd name="connsiteX3" fmla="*/ 369528 w 369528"/>
              <a:gd name="connsiteY3" fmla="*/ 4710703 h 5536204"/>
              <a:gd name="connsiteX4" fmla="*/ 366601 w 369528"/>
              <a:gd name="connsiteY4" fmla="*/ 4774203 h 5536204"/>
              <a:gd name="connsiteX5" fmla="*/ 366601 w 369528"/>
              <a:gd name="connsiteY5" fmla="*/ 5536204 h 5536204"/>
              <a:gd name="connsiteX6" fmla="*/ 360747 w 369528"/>
              <a:gd name="connsiteY6" fmla="*/ 5536204 h 5536204"/>
              <a:gd name="connsiteX0" fmla="*/ 0 w 366601"/>
              <a:gd name="connsiteY0" fmla="*/ 0 h 5536204"/>
              <a:gd name="connsiteX1" fmla="*/ 5855 w 366601"/>
              <a:gd name="connsiteY1" fmla="*/ 0 h 5536204"/>
              <a:gd name="connsiteX2" fmla="*/ 5855 w 366601"/>
              <a:gd name="connsiteY2" fmla="*/ 762000 h 5536204"/>
              <a:gd name="connsiteX3" fmla="*/ 8782 w 366601"/>
              <a:gd name="connsiteY3" fmla="*/ 825500 h 5536204"/>
              <a:gd name="connsiteX4" fmla="*/ 366601 w 366601"/>
              <a:gd name="connsiteY4" fmla="*/ 4774203 h 5536204"/>
              <a:gd name="connsiteX5" fmla="*/ 366601 w 366601"/>
              <a:gd name="connsiteY5" fmla="*/ 5536204 h 5536204"/>
              <a:gd name="connsiteX6" fmla="*/ 360747 w 366601"/>
              <a:gd name="connsiteY6" fmla="*/ 5536204 h 5536204"/>
              <a:gd name="connsiteX0" fmla="*/ 0 w 366601"/>
              <a:gd name="connsiteY0" fmla="*/ 0 h 5536204"/>
              <a:gd name="connsiteX1" fmla="*/ 5855 w 366601"/>
              <a:gd name="connsiteY1" fmla="*/ 0 h 5536204"/>
              <a:gd name="connsiteX2" fmla="*/ 5855 w 366601"/>
              <a:gd name="connsiteY2" fmla="*/ 762000 h 5536204"/>
              <a:gd name="connsiteX3" fmla="*/ 8782 w 366601"/>
              <a:gd name="connsiteY3" fmla="*/ 825500 h 5536204"/>
              <a:gd name="connsiteX4" fmla="*/ 5855 w 366601"/>
              <a:gd name="connsiteY4" fmla="*/ 889000 h 5536204"/>
              <a:gd name="connsiteX5" fmla="*/ 366601 w 366601"/>
              <a:gd name="connsiteY5" fmla="*/ 5536204 h 5536204"/>
              <a:gd name="connsiteX6" fmla="*/ 360747 w 366601"/>
              <a:gd name="connsiteY6" fmla="*/ 5536204 h 5536204"/>
              <a:gd name="connsiteX0" fmla="*/ 0 w 360747"/>
              <a:gd name="connsiteY0" fmla="*/ 0 h 5536204"/>
              <a:gd name="connsiteX1" fmla="*/ 5855 w 360747"/>
              <a:gd name="connsiteY1" fmla="*/ 0 h 5536204"/>
              <a:gd name="connsiteX2" fmla="*/ 5855 w 360747"/>
              <a:gd name="connsiteY2" fmla="*/ 762000 h 5536204"/>
              <a:gd name="connsiteX3" fmla="*/ 8782 w 360747"/>
              <a:gd name="connsiteY3" fmla="*/ 825500 h 5536204"/>
              <a:gd name="connsiteX4" fmla="*/ 5855 w 360747"/>
              <a:gd name="connsiteY4" fmla="*/ 889000 h 5536204"/>
              <a:gd name="connsiteX5" fmla="*/ 5855 w 360747"/>
              <a:gd name="connsiteY5" fmla="*/ 1651001 h 5536204"/>
              <a:gd name="connsiteX6" fmla="*/ 360747 w 360747"/>
              <a:gd name="connsiteY6" fmla="*/ 5536204 h 5536204"/>
              <a:gd name="connsiteX0" fmla="*/ 0 w 8782"/>
              <a:gd name="connsiteY0" fmla="*/ 0 h 1651001"/>
              <a:gd name="connsiteX1" fmla="*/ 5855 w 8782"/>
              <a:gd name="connsiteY1" fmla="*/ 0 h 1651001"/>
              <a:gd name="connsiteX2" fmla="*/ 5855 w 8782"/>
              <a:gd name="connsiteY2" fmla="*/ 762000 h 1651001"/>
              <a:gd name="connsiteX3" fmla="*/ 8782 w 8782"/>
              <a:gd name="connsiteY3" fmla="*/ 825500 h 1651001"/>
              <a:gd name="connsiteX4" fmla="*/ 5855 w 8782"/>
              <a:gd name="connsiteY4" fmla="*/ 889000 h 1651001"/>
              <a:gd name="connsiteX5" fmla="*/ 5855 w 8782"/>
              <a:gd name="connsiteY5" fmla="*/ 1651001 h 1651001"/>
              <a:gd name="connsiteX6" fmla="*/ 0 w 8782"/>
              <a:gd name="connsiteY6" fmla="*/ 1651001 h 165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82" h="1651001">
                <a:moveTo>
                  <a:pt x="0" y="0"/>
                </a:moveTo>
                <a:lnTo>
                  <a:pt x="5855" y="0"/>
                </a:lnTo>
                <a:lnTo>
                  <a:pt x="5855" y="762000"/>
                </a:lnTo>
                <a:lnTo>
                  <a:pt x="8782" y="825500"/>
                </a:lnTo>
                <a:lnTo>
                  <a:pt x="5855" y="889000"/>
                </a:lnTo>
                <a:lnTo>
                  <a:pt x="5855" y="1651001"/>
                </a:lnTo>
                <a:lnTo>
                  <a:pt x="0" y="1651001"/>
                </a:lnTo>
              </a:path>
            </a:pathLst>
          </a:cu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837" dirty="0">
              <a:latin typeface="+mn-lt"/>
              <a:ea typeface="+mn-ea"/>
              <a:cs typeface="+mn-cs"/>
              <a:sym typeface="+mn-lt"/>
            </a:endParaRPr>
          </a:p>
        </p:txBody>
      </p:sp>
      <p:pic>
        <p:nvPicPr>
          <p:cNvPr id="7" name="Picture 6">
            <a:extLst>
              <a:ext uri="{FF2B5EF4-FFF2-40B4-BE49-F238E27FC236}">
                <a16:creationId xmlns:a16="http://schemas.microsoft.com/office/drawing/2014/main" id="{5563EAAC-4950-4FB8-B154-C6916F3ACCA5}"/>
              </a:ext>
            </a:extLst>
          </p:cNvPr>
          <p:cNvPicPr>
            <a:picLocks noChangeAspect="1"/>
          </p:cNvPicPr>
          <p:nvPr userDrawn="1"/>
        </p:nvPicPr>
        <p:blipFill>
          <a:blip r:embed="rId49"/>
          <a:stretch>
            <a:fillRect/>
          </a:stretch>
        </p:blipFill>
        <p:spPr bwMode="gray">
          <a:xfrm>
            <a:off x="11038433" y="293333"/>
            <a:ext cx="920308" cy="356243"/>
          </a:xfrm>
          <a:prstGeom prst="rect">
            <a:avLst/>
          </a:prstGeom>
        </p:spPr>
      </p:pic>
    </p:spTree>
    <p:extLst>
      <p:ext uri="{BB962C8B-B14F-4D97-AF65-F5344CB8AC3E}">
        <p14:creationId xmlns:p14="http://schemas.microsoft.com/office/powerpoint/2010/main" val="36049731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Lst>
  <p:hf sldNum="0" hdr="0" ftr="0" dt="0"/>
  <p:txStyles>
    <p:titleStyle>
      <a:lvl1pPr algn="l" defTabSz="1218095" rtl="0" eaLnBrk="1" fontAlgn="base" hangingPunct="1">
        <a:spcBef>
          <a:spcPct val="0"/>
        </a:spcBef>
        <a:spcAft>
          <a:spcPct val="0"/>
        </a:spcAft>
        <a:tabLst>
          <a:tab pos="456763" algn="l"/>
        </a:tabLst>
        <a:defRPr sz="2449" b="1" baseline="0">
          <a:solidFill>
            <a:schemeClr val="tx2"/>
          </a:solidFill>
          <a:latin typeface="+mj-lt"/>
          <a:ea typeface="+mj-ea"/>
          <a:cs typeface="+mj-cs"/>
          <a:sym typeface="+mj-lt"/>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p:titleStyle>
    <p:bodyStyle>
      <a:lvl1pPr marL="0" indent="0" algn="l" defTabSz="1218095" rtl="0" eaLnBrk="1" fontAlgn="base" hangingPunct="1">
        <a:spcBef>
          <a:spcPct val="0"/>
        </a:spcBef>
        <a:spcAft>
          <a:spcPct val="0"/>
        </a:spcAft>
        <a:buClr>
          <a:schemeClr val="tx2"/>
        </a:buClr>
        <a:defRPr sz="1632" baseline="0">
          <a:solidFill>
            <a:schemeClr val="tx1"/>
          </a:solidFill>
          <a:latin typeface="+mn-lt"/>
          <a:ea typeface="+mn-ea"/>
          <a:cs typeface="+mn-cs"/>
          <a:sym typeface="+mn-lt"/>
        </a:defRPr>
      </a:lvl1pPr>
      <a:lvl2pPr marL="183654" indent="-183654" algn="l" defTabSz="1218095" rtl="0" eaLnBrk="1" fontAlgn="base" hangingPunct="1">
        <a:spcBef>
          <a:spcPct val="0"/>
        </a:spcBef>
        <a:spcAft>
          <a:spcPct val="0"/>
        </a:spcAft>
        <a:buClr>
          <a:schemeClr val="tx2"/>
        </a:buClr>
        <a:buSzPct val="125000"/>
        <a:buFont typeface="Arial" pitchFamily="34" charset="0"/>
        <a:buChar char="•"/>
        <a:defRPr sz="1632" baseline="0">
          <a:solidFill>
            <a:schemeClr val="tx1"/>
          </a:solidFill>
          <a:latin typeface="+mn-lt"/>
          <a:ea typeface="+mn-ea"/>
          <a:cs typeface="+mn-cs"/>
          <a:sym typeface="+mn-lt"/>
        </a:defRPr>
      </a:lvl2pPr>
      <a:lvl3pPr marL="367308" indent="-183654" algn="l" defTabSz="1218095"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ea typeface="+mn-ea"/>
          <a:cs typeface="+mn-cs"/>
          <a:sym typeface="+mn-lt"/>
        </a:defRPr>
      </a:lvl3pPr>
      <a:lvl4pPr marL="550962" indent="-183654" algn="l" defTabSz="1218095" rtl="0" eaLnBrk="1" fontAlgn="base" hangingPunct="1">
        <a:spcBef>
          <a:spcPct val="0"/>
        </a:spcBef>
        <a:spcAft>
          <a:spcPct val="0"/>
        </a:spcAft>
        <a:buClr>
          <a:schemeClr val="tx2"/>
        </a:buClr>
        <a:buSzPct val="120000"/>
        <a:buFont typeface="Arial" pitchFamily="34" charset="0"/>
        <a:buChar char="◦"/>
        <a:defRPr sz="1632" baseline="0">
          <a:solidFill>
            <a:schemeClr val="tx1"/>
          </a:solidFill>
          <a:latin typeface="+mn-lt"/>
          <a:ea typeface="+mn-ea"/>
          <a:cs typeface="+mn-cs"/>
          <a:sym typeface="+mn-lt"/>
        </a:defRPr>
      </a:lvl4pPr>
      <a:lvl5pPr marL="734616" indent="-183654" algn="l" defTabSz="1218095"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ea typeface="+mn-ea"/>
          <a:cs typeface="+mn-cs"/>
          <a:sym typeface="+mn-lt"/>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p:bodyStyle>
    <p:otherStyle>
      <a:defPPr>
        <a:defRPr lang="en-US"/>
      </a:defPPr>
      <a:lvl1pPr marL="0" algn="l" defTabSz="1244012" rtl="0" eaLnBrk="1" latinLnBrk="0" hangingPunct="1">
        <a:defRPr sz="2449" kern="1200">
          <a:solidFill>
            <a:schemeClr val="tx1"/>
          </a:solidFill>
          <a:latin typeface="+mn-lt"/>
          <a:ea typeface="+mn-ea"/>
          <a:cs typeface="+mn-cs"/>
        </a:defRPr>
      </a:lvl1pPr>
      <a:lvl2pPr marL="622005" algn="l" defTabSz="1244012" rtl="0" eaLnBrk="1" latinLnBrk="0" hangingPunct="1">
        <a:defRPr sz="2449" kern="1200">
          <a:solidFill>
            <a:schemeClr val="tx1"/>
          </a:solidFill>
          <a:latin typeface="+mn-lt"/>
          <a:ea typeface="+mn-ea"/>
          <a:cs typeface="+mn-cs"/>
        </a:defRPr>
      </a:lvl2pPr>
      <a:lvl3pPr marL="1244012" algn="l" defTabSz="1244012" rtl="0" eaLnBrk="1" latinLnBrk="0" hangingPunct="1">
        <a:defRPr sz="2449" kern="1200">
          <a:solidFill>
            <a:schemeClr val="tx1"/>
          </a:solidFill>
          <a:latin typeface="+mn-lt"/>
          <a:ea typeface="+mn-ea"/>
          <a:cs typeface="+mn-cs"/>
        </a:defRPr>
      </a:lvl3pPr>
      <a:lvl4pPr marL="1866017" algn="l" defTabSz="1244012" rtl="0" eaLnBrk="1" latinLnBrk="0" hangingPunct="1">
        <a:defRPr sz="2449" kern="1200">
          <a:solidFill>
            <a:schemeClr val="tx1"/>
          </a:solidFill>
          <a:latin typeface="+mn-lt"/>
          <a:ea typeface="+mn-ea"/>
          <a:cs typeface="+mn-cs"/>
        </a:defRPr>
      </a:lvl4pPr>
      <a:lvl5pPr marL="2488024" algn="l" defTabSz="1244012" rtl="0" eaLnBrk="1" latinLnBrk="0" hangingPunct="1">
        <a:defRPr sz="2449" kern="1200">
          <a:solidFill>
            <a:schemeClr val="tx1"/>
          </a:solidFill>
          <a:latin typeface="+mn-lt"/>
          <a:ea typeface="+mn-ea"/>
          <a:cs typeface="+mn-cs"/>
        </a:defRPr>
      </a:lvl5pPr>
      <a:lvl6pPr marL="3110029" algn="l" defTabSz="1244012" rtl="0" eaLnBrk="1" latinLnBrk="0" hangingPunct="1">
        <a:defRPr sz="2449" kern="1200">
          <a:solidFill>
            <a:schemeClr val="tx1"/>
          </a:solidFill>
          <a:latin typeface="+mn-lt"/>
          <a:ea typeface="+mn-ea"/>
          <a:cs typeface="+mn-cs"/>
        </a:defRPr>
      </a:lvl6pPr>
      <a:lvl7pPr marL="3732036" algn="l" defTabSz="1244012" rtl="0" eaLnBrk="1" latinLnBrk="0" hangingPunct="1">
        <a:defRPr sz="2449" kern="1200">
          <a:solidFill>
            <a:schemeClr val="tx1"/>
          </a:solidFill>
          <a:latin typeface="+mn-lt"/>
          <a:ea typeface="+mn-ea"/>
          <a:cs typeface="+mn-cs"/>
        </a:defRPr>
      </a:lvl7pPr>
      <a:lvl8pPr marL="4354041" algn="l" defTabSz="1244012" rtl="0" eaLnBrk="1" latinLnBrk="0" hangingPunct="1">
        <a:defRPr sz="2449" kern="1200">
          <a:solidFill>
            <a:schemeClr val="tx1"/>
          </a:solidFill>
          <a:latin typeface="+mn-lt"/>
          <a:ea typeface="+mn-ea"/>
          <a:cs typeface="+mn-cs"/>
        </a:defRPr>
      </a:lvl8pPr>
      <a:lvl9pPr marL="4976048" algn="l" defTabSz="1244012" rtl="0" eaLnBrk="1" latinLnBrk="0" hangingPunct="1">
        <a:defRPr sz="244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tags" Target="../tags/tag55.xml"/><Relationship Id="rId3" Type="http://schemas.openxmlformats.org/officeDocument/2006/relationships/tags" Target="../tags/tag50.xml"/><Relationship Id="rId7" Type="http://schemas.openxmlformats.org/officeDocument/2006/relationships/tags" Target="../tags/tag54.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slideLayout" Target="../slideLayouts/slideLayout6.xml"/><Relationship Id="rId5" Type="http://schemas.openxmlformats.org/officeDocument/2006/relationships/tags" Target="../tags/tag52.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58.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 Id="rId9" Type="http://schemas.openxmlformats.org/officeDocument/2006/relationships/chart" Target="../charts/chart1.xml"/></Relationships>
</file>

<file path=ppt/slides/_rels/slide6.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59.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 Id="rId9" Type="http://schemas.openxmlformats.org/officeDocument/2006/relationships/chart" Target="../charts/chart2.xml"/></Relationships>
</file>

<file path=ppt/slides/_rels/slide7.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60.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 Id="rId9" Type="http://schemas.openxmlformats.org/officeDocument/2006/relationships/chart" Target="../charts/chart3.xml"/></Relationships>
</file>

<file path=ppt/slides/_rels/slide8.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61.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 Id="rId9" Type="http://schemas.openxmlformats.org/officeDocument/2006/relationships/chart" Target="../charts/chart4.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62.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C2DCF5D-A6FB-4A29-8D65-4913DE202A65}"/>
              </a:ext>
            </a:extLst>
          </p:cNvPr>
          <p:cNvSpPr>
            <a:spLocks noGrp="1"/>
          </p:cNvSpPr>
          <p:nvPr>
            <p:ph type="title"/>
          </p:nvPr>
        </p:nvSpPr>
        <p:spPr/>
        <p:txBody>
          <a:bodyPr/>
          <a:lstStyle/>
          <a:p>
            <a:r>
              <a:rPr lang="fr-MA" dirty="0"/>
              <a:t>Agence de développement du digital</a:t>
            </a:r>
          </a:p>
        </p:txBody>
      </p:sp>
      <p:sp>
        <p:nvSpPr>
          <p:cNvPr id="3" name="Espace réservé du texte 2">
            <a:extLst>
              <a:ext uri="{FF2B5EF4-FFF2-40B4-BE49-F238E27FC236}">
                <a16:creationId xmlns:a16="http://schemas.microsoft.com/office/drawing/2014/main" id="{8E7AB227-B8B7-4402-B277-3A95EEAD9266}"/>
              </a:ext>
            </a:extLst>
          </p:cNvPr>
          <p:cNvSpPr>
            <a:spLocks noGrp="1"/>
          </p:cNvSpPr>
          <p:nvPr>
            <p:ph type="body" sz="quarter" idx="10"/>
          </p:nvPr>
        </p:nvSpPr>
        <p:spPr/>
        <p:txBody>
          <a:bodyPr>
            <a:normAutofit/>
          </a:bodyPr>
          <a:lstStyle/>
          <a:p>
            <a:r>
              <a:rPr lang="fr-FR" dirty="0"/>
              <a:t>8e Edition du cercle de l'innovation – 30 Avril 2020</a:t>
            </a:r>
            <a:endParaRPr lang="fr-MA" dirty="0"/>
          </a:p>
        </p:txBody>
      </p:sp>
    </p:spTree>
    <p:extLst>
      <p:ext uri="{BB962C8B-B14F-4D97-AF65-F5344CB8AC3E}">
        <p14:creationId xmlns:p14="http://schemas.microsoft.com/office/powerpoint/2010/main" val="15311614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10">
            <a:extLst>
              <a:ext uri="{FF2B5EF4-FFF2-40B4-BE49-F238E27FC236}">
                <a16:creationId xmlns:a16="http://schemas.microsoft.com/office/drawing/2014/main" id="{238BFD3F-BAA3-403F-82CF-7421803776B2}"/>
              </a:ext>
            </a:extLst>
          </p:cNvPr>
          <p:cNvSpPr txBox="1"/>
          <p:nvPr/>
        </p:nvSpPr>
        <p:spPr>
          <a:xfrm>
            <a:off x="168025" y="725178"/>
            <a:ext cx="9378547" cy="2884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837" b="1" dirty="0">
                <a:solidFill>
                  <a:schemeClr val="accent4"/>
                </a:solidFill>
              </a:rPr>
              <a:t>Cible : Citoyens, Communes projet en partenariat MI, MEFRA, MICEVN, ADD et ANRT</a:t>
            </a:r>
          </a:p>
        </p:txBody>
      </p:sp>
      <p:cxnSp>
        <p:nvCxnSpPr>
          <p:cNvPr id="9" name="Straight Connector 66">
            <a:extLst>
              <a:ext uri="{FF2B5EF4-FFF2-40B4-BE49-F238E27FC236}">
                <a16:creationId xmlns:a16="http://schemas.microsoft.com/office/drawing/2014/main" id="{CB3EBCCA-DDDB-4341-BF1A-E44CFE96EA35}"/>
              </a:ext>
            </a:extLst>
          </p:cNvPr>
          <p:cNvCxnSpPr>
            <a:cxnSpLocks/>
          </p:cNvCxnSpPr>
          <p:nvPr/>
        </p:nvCxnSpPr>
        <p:spPr>
          <a:xfrm>
            <a:off x="168026" y="1558778"/>
            <a:ext cx="1174541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itre 1">
            <a:extLst>
              <a:ext uri="{FF2B5EF4-FFF2-40B4-BE49-F238E27FC236}">
                <a16:creationId xmlns:a16="http://schemas.microsoft.com/office/drawing/2014/main" id="{68CB6FEE-82EA-4DF7-B8D6-9A98FF1E6862}"/>
              </a:ext>
            </a:extLst>
          </p:cNvPr>
          <p:cNvSpPr>
            <a:spLocks noGrp="1"/>
          </p:cNvSpPr>
          <p:nvPr>
            <p:ph type="title"/>
          </p:nvPr>
        </p:nvSpPr>
        <p:spPr>
          <a:xfrm>
            <a:off x="233346" y="283038"/>
            <a:ext cx="10514229" cy="376834"/>
          </a:xfrm>
        </p:spPr>
        <p:txBody>
          <a:bodyPr/>
          <a:lstStyle/>
          <a:p>
            <a:r>
              <a:rPr lang="fr-FR" dirty="0"/>
              <a:t>Portail National de l’Administration</a:t>
            </a:r>
            <a:endParaRPr lang="fr-MA" dirty="0"/>
          </a:p>
        </p:txBody>
      </p:sp>
      <p:grpSp>
        <p:nvGrpSpPr>
          <p:cNvPr id="17" name="Groupe 16">
            <a:extLst>
              <a:ext uri="{FF2B5EF4-FFF2-40B4-BE49-F238E27FC236}">
                <a16:creationId xmlns:a16="http://schemas.microsoft.com/office/drawing/2014/main" id="{DDB6438C-BDC4-487D-913D-AFC12FCA2E6F}"/>
              </a:ext>
            </a:extLst>
          </p:cNvPr>
          <p:cNvGrpSpPr/>
          <p:nvPr/>
        </p:nvGrpSpPr>
        <p:grpSpPr>
          <a:xfrm>
            <a:off x="168025" y="1634904"/>
            <a:ext cx="11725308" cy="5152394"/>
            <a:chOff x="549647" y="1530484"/>
            <a:chExt cx="11725308" cy="5152394"/>
          </a:xfrm>
        </p:grpSpPr>
        <p:grpSp>
          <p:nvGrpSpPr>
            <p:cNvPr id="18" name="Group 5">
              <a:extLst>
                <a:ext uri="{FF2B5EF4-FFF2-40B4-BE49-F238E27FC236}">
                  <a16:creationId xmlns:a16="http://schemas.microsoft.com/office/drawing/2014/main" id="{BA773CB9-476E-4F6F-895B-221BDEEBA705}"/>
                </a:ext>
              </a:extLst>
            </p:cNvPr>
            <p:cNvGrpSpPr/>
            <p:nvPr/>
          </p:nvGrpSpPr>
          <p:grpSpPr>
            <a:xfrm>
              <a:off x="983194" y="2980683"/>
              <a:ext cx="5112806" cy="207702"/>
              <a:chOff x="1227694" y="3592560"/>
              <a:chExt cx="4595588" cy="216000"/>
            </a:xfrm>
          </p:grpSpPr>
          <p:cxnSp>
            <p:nvCxnSpPr>
              <p:cNvPr id="65" name="Straight Arrow Connector 128">
                <a:extLst>
                  <a:ext uri="{FF2B5EF4-FFF2-40B4-BE49-F238E27FC236}">
                    <a16:creationId xmlns:a16="http://schemas.microsoft.com/office/drawing/2014/main" id="{1CDEC37F-CF70-49D7-B03E-78DB52B893C9}"/>
                  </a:ext>
                </a:extLst>
              </p:cNvPr>
              <p:cNvCxnSpPr>
                <a:cxnSpLocks/>
              </p:cNvCxnSpPr>
              <p:nvPr/>
            </p:nvCxnSpPr>
            <p:spPr bwMode="gray">
              <a:xfrm>
                <a:off x="1227694" y="3592560"/>
                <a:ext cx="1" cy="216000"/>
              </a:xfrm>
              <a:prstGeom prst="straightConnector1">
                <a:avLst/>
              </a:prstGeom>
              <a:ln w="6350" cap="sq">
                <a:solidFill>
                  <a:srgbClr val="808080"/>
                </a:solidFill>
                <a:prstDash val="solid"/>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Straight Arrow Connector 129">
                <a:extLst>
                  <a:ext uri="{FF2B5EF4-FFF2-40B4-BE49-F238E27FC236}">
                    <a16:creationId xmlns:a16="http://schemas.microsoft.com/office/drawing/2014/main" id="{34851DFF-6C09-4418-8259-1A820553C673}"/>
                  </a:ext>
                </a:extLst>
              </p:cNvPr>
              <p:cNvCxnSpPr>
                <a:cxnSpLocks/>
              </p:cNvCxnSpPr>
              <p:nvPr/>
            </p:nvCxnSpPr>
            <p:spPr bwMode="gray">
              <a:xfrm>
                <a:off x="2710463" y="3592560"/>
                <a:ext cx="1" cy="216000"/>
              </a:xfrm>
              <a:prstGeom prst="straightConnector1">
                <a:avLst/>
              </a:prstGeom>
              <a:ln w="6350" cap="sq">
                <a:solidFill>
                  <a:srgbClr val="808080"/>
                </a:solidFill>
                <a:prstDash val="solid"/>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Straight Arrow Connector 130">
                <a:extLst>
                  <a:ext uri="{FF2B5EF4-FFF2-40B4-BE49-F238E27FC236}">
                    <a16:creationId xmlns:a16="http://schemas.microsoft.com/office/drawing/2014/main" id="{64F964ED-494C-4220-83D7-C4C760D2166D}"/>
                  </a:ext>
                </a:extLst>
              </p:cNvPr>
              <p:cNvCxnSpPr>
                <a:cxnSpLocks/>
              </p:cNvCxnSpPr>
              <p:nvPr/>
            </p:nvCxnSpPr>
            <p:spPr bwMode="gray">
              <a:xfrm>
                <a:off x="4266872" y="3592560"/>
                <a:ext cx="1" cy="216000"/>
              </a:xfrm>
              <a:prstGeom prst="straightConnector1">
                <a:avLst/>
              </a:prstGeom>
              <a:ln w="6350" cap="sq">
                <a:solidFill>
                  <a:srgbClr val="808080"/>
                </a:solidFill>
                <a:prstDash val="solid"/>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136">
                <a:extLst>
                  <a:ext uri="{FF2B5EF4-FFF2-40B4-BE49-F238E27FC236}">
                    <a16:creationId xmlns:a16="http://schemas.microsoft.com/office/drawing/2014/main" id="{6DE46FF6-C213-43C9-AC9A-E50CE4C5E04D}"/>
                  </a:ext>
                </a:extLst>
              </p:cNvPr>
              <p:cNvCxnSpPr>
                <a:cxnSpLocks/>
              </p:cNvCxnSpPr>
              <p:nvPr/>
            </p:nvCxnSpPr>
            <p:spPr bwMode="gray">
              <a:xfrm>
                <a:off x="5823281" y="3592560"/>
                <a:ext cx="1" cy="216000"/>
              </a:xfrm>
              <a:prstGeom prst="straightConnector1">
                <a:avLst/>
              </a:prstGeom>
              <a:ln w="6350" cap="sq">
                <a:solidFill>
                  <a:srgbClr val="808080"/>
                </a:solidFill>
                <a:prstDash val="solid"/>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0" name="Groupe 19">
              <a:extLst>
                <a:ext uri="{FF2B5EF4-FFF2-40B4-BE49-F238E27FC236}">
                  <a16:creationId xmlns:a16="http://schemas.microsoft.com/office/drawing/2014/main" id="{99F4142A-CAB2-47CF-BCE6-46DCC9B8DEC0}"/>
                </a:ext>
              </a:extLst>
            </p:cNvPr>
            <p:cNvGrpSpPr/>
            <p:nvPr/>
          </p:nvGrpSpPr>
          <p:grpSpPr>
            <a:xfrm>
              <a:off x="549647" y="1530484"/>
              <a:ext cx="8853901" cy="1459471"/>
              <a:chOff x="233346" y="700925"/>
              <a:chExt cx="8853901" cy="1459471"/>
            </a:xfrm>
          </p:grpSpPr>
          <p:cxnSp>
            <p:nvCxnSpPr>
              <p:cNvPr id="52" name="Straight Connector 78">
                <a:extLst>
                  <a:ext uri="{FF2B5EF4-FFF2-40B4-BE49-F238E27FC236}">
                    <a16:creationId xmlns:a16="http://schemas.microsoft.com/office/drawing/2014/main" id="{C9B0EA5E-0CE3-46A9-AEE6-1958ABF05FA6}"/>
                  </a:ext>
                </a:extLst>
              </p:cNvPr>
              <p:cNvCxnSpPr>
                <a:cxnSpLocks/>
              </p:cNvCxnSpPr>
              <p:nvPr/>
            </p:nvCxnSpPr>
            <p:spPr bwMode="gray">
              <a:xfrm>
                <a:off x="233346" y="700925"/>
                <a:ext cx="8853901"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C5EFD311-12F4-4615-864B-3BF32E7EC1F5}"/>
                  </a:ext>
                </a:extLst>
              </p:cNvPr>
              <p:cNvSpPr>
                <a:spLocks/>
              </p:cNvSpPr>
              <p:nvPr/>
            </p:nvSpPr>
            <p:spPr bwMode="gray">
              <a:xfrm>
                <a:off x="233346" y="738033"/>
                <a:ext cx="5879882" cy="1422362"/>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ctr" anchorCtr="0">
                <a:noAutofit/>
              </a:bodyPr>
              <a:lstStyle/>
              <a:p>
                <a:pPr algn="ctr" defTabSz="932962" fontAlgn="base">
                  <a:spcBef>
                    <a:spcPct val="0"/>
                  </a:spcBef>
                  <a:spcAft>
                    <a:spcPct val="0"/>
                  </a:spcAft>
                  <a:buClr>
                    <a:srgbClr val="FFFFFF"/>
                  </a:buClr>
                </a:pPr>
                <a:endParaRPr lang="fr-FR" sz="1428" b="1" dirty="0">
                  <a:solidFill>
                    <a:srgbClr val="FFFFFF"/>
                  </a:solidFill>
                  <a:latin typeface="Arial Nova Light"/>
                  <a:ea typeface="ＭＳ Ｐゴシック"/>
                  <a:cs typeface="Arial" panose="020B0604020202020204" pitchFamily="34" charset="0"/>
                </a:endParaRPr>
              </a:p>
            </p:txBody>
          </p:sp>
          <p:sp>
            <p:nvSpPr>
              <p:cNvPr id="54" name="Rectangle 53">
                <a:extLst>
                  <a:ext uri="{FF2B5EF4-FFF2-40B4-BE49-F238E27FC236}">
                    <a16:creationId xmlns:a16="http://schemas.microsoft.com/office/drawing/2014/main" id="{0F1DE760-E62A-4920-BBE6-06B0F2F02142}"/>
                  </a:ext>
                </a:extLst>
              </p:cNvPr>
              <p:cNvSpPr>
                <a:spLocks/>
              </p:cNvSpPr>
              <p:nvPr/>
            </p:nvSpPr>
            <p:spPr bwMode="gray">
              <a:xfrm>
                <a:off x="6155595" y="738033"/>
                <a:ext cx="2901872" cy="1422363"/>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ctr" anchorCtr="0">
                <a:noAutofit/>
              </a:bodyPr>
              <a:lstStyle/>
              <a:p>
                <a:pPr algn="ctr" defTabSz="932962" fontAlgn="base">
                  <a:spcBef>
                    <a:spcPct val="0"/>
                  </a:spcBef>
                  <a:spcAft>
                    <a:spcPct val="0"/>
                  </a:spcAft>
                  <a:buClr>
                    <a:srgbClr val="FFFFFF"/>
                  </a:buClr>
                </a:pPr>
                <a:endParaRPr lang="fr-FR" sz="1428" b="1" dirty="0">
                  <a:solidFill>
                    <a:srgbClr val="FFFFFF"/>
                  </a:solidFill>
                  <a:latin typeface="Arial Nova Light"/>
                  <a:ea typeface="ＭＳ Ｐゴシック"/>
                  <a:cs typeface="Arial" panose="020B0604020202020204" pitchFamily="34" charset="0"/>
                </a:endParaRPr>
              </a:p>
            </p:txBody>
          </p:sp>
          <p:sp>
            <p:nvSpPr>
              <p:cNvPr id="55" name="TextBox 133">
                <a:extLst>
                  <a:ext uri="{FF2B5EF4-FFF2-40B4-BE49-F238E27FC236}">
                    <a16:creationId xmlns:a16="http://schemas.microsoft.com/office/drawing/2014/main" id="{A9FA13FD-AA6E-4FDF-8FC7-8CD71DAF6EDD}"/>
                  </a:ext>
                </a:extLst>
              </p:cNvPr>
              <p:cNvSpPr txBox="1">
                <a:spLocks/>
              </p:cNvSpPr>
              <p:nvPr/>
            </p:nvSpPr>
            <p:spPr bwMode="gray">
              <a:xfrm>
                <a:off x="313705" y="812311"/>
                <a:ext cx="2131743" cy="242797"/>
              </a:xfrm>
              <a:prstGeom prst="rect">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ctr" anchorCtr="0">
                <a:noAutofit/>
              </a:bodyPr>
              <a:lstStyle>
                <a:defPPr>
                  <a:defRPr lang="en-US"/>
                </a:defPPr>
                <a:lvl1pPr algn="ctr">
                  <a:defRPr sz="900" b="1">
                    <a:solidFill>
                      <a:srgbClr val="00B0F0"/>
                    </a:solidFill>
                    <a:latin typeface="Arial" panose="020B0604020202020204" pitchFamily="34" charset="0"/>
                    <a:cs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defTabSz="932962" fontAlgn="base">
                  <a:spcBef>
                    <a:spcPct val="0"/>
                  </a:spcBef>
                  <a:spcAft>
                    <a:spcPct val="0"/>
                  </a:spcAft>
                </a:pPr>
                <a:r>
                  <a:rPr lang="fr-FR" sz="1428" b="0" dirty="0">
                    <a:solidFill>
                      <a:srgbClr val="333333"/>
                    </a:solidFill>
                    <a:latin typeface="Arial Nova Light"/>
                    <a:ea typeface="ＭＳ Ｐゴシック"/>
                  </a:rPr>
                  <a:t>PNA – Interface citoyen</a:t>
                </a:r>
              </a:p>
            </p:txBody>
          </p:sp>
          <p:sp>
            <p:nvSpPr>
              <p:cNvPr id="56" name="TextBox 133">
                <a:extLst>
                  <a:ext uri="{FF2B5EF4-FFF2-40B4-BE49-F238E27FC236}">
                    <a16:creationId xmlns:a16="http://schemas.microsoft.com/office/drawing/2014/main" id="{92EE07EF-EFCA-4AE0-B371-0BC203F9BB0F}"/>
                  </a:ext>
                </a:extLst>
              </p:cNvPr>
              <p:cNvSpPr txBox="1">
                <a:spLocks/>
              </p:cNvSpPr>
              <p:nvPr/>
            </p:nvSpPr>
            <p:spPr bwMode="gray">
              <a:xfrm>
                <a:off x="6214851" y="786410"/>
                <a:ext cx="2684980" cy="242797"/>
              </a:xfrm>
              <a:prstGeom prst="rect">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ctr" anchorCtr="0">
                <a:noAutofit/>
              </a:bodyPr>
              <a:lstStyle>
                <a:defPPr>
                  <a:defRPr lang="en-US"/>
                </a:defPPr>
                <a:lvl1pPr algn="ctr">
                  <a:defRPr sz="900" b="1">
                    <a:solidFill>
                      <a:srgbClr val="00B0F0"/>
                    </a:solidFill>
                    <a:latin typeface="Arial" panose="020B0604020202020204" pitchFamily="34" charset="0"/>
                    <a:cs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l" defTabSz="932962" fontAlgn="base">
                  <a:spcBef>
                    <a:spcPct val="0"/>
                  </a:spcBef>
                  <a:spcAft>
                    <a:spcPct val="0"/>
                  </a:spcAft>
                </a:pPr>
                <a:r>
                  <a:rPr lang="fr-FR" sz="1428" b="0" dirty="0">
                    <a:solidFill>
                      <a:srgbClr val="333333"/>
                    </a:solidFill>
                    <a:latin typeface="Arial Nova Light"/>
                    <a:ea typeface="ＭＳ Ｐゴシック"/>
                  </a:rPr>
                  <a:t>PNA – Back-Office</a:t>
                </a:r>
              </a:p>
            </p:txBody>
          </p:sp>
          <p:sp>
            <p:nvSpPr>
              <p:cNvPr id="57" name="TextBox 158">
                <a:extLst>
                  <a:ext uri="{FF2B5EF4-FFF2-40B4-BE49-F238E27FC236}">
                    <a16:creationId xmlns:a16="http://schemas.microsoft.com/office/drawing/2014/main" id="{508B7E55-1DC3-4A4C-86E4-9B4B5BA77E88}"/>
                  </a:ext>
                </a:extLst>
              </p:cNvPr>
              <p:cNvSpPr txBox="1">
                <a:spLocks/>
              </p:cNvSpPr>
              <p:nvPr/>
            </p:nvSpPr>
            <p:spPr bwMode="gray">
              <a:xfrm>
                <a:off x="4374483" y="1095492"/>
                <a:ext cx="1714920" cy="973339"/>
              </a:xfrm>
              <a:prstGeom prst="rect">
                <a:avLst/>
              </a:prstGeom>
              <a:solidFill>
                <a:srgbClr val="7BD5F1"/>
              </a:solidFill>
              <a:ln w="12700">
                <a:solidFill>
                  <a:srgbClr val="F8F8F8"/>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t" anchorCtr="0">
                <a:noAutofit/>
              </a:bodyPr>
              <a:lstStyle>
                <a:defPPr>
                  <a:defRPr lang="fr-FR"/>
                </a:defPPr>
                <a:lvl1pPr algn="ctr" defTabSz="932962" fontAlgn="base">
                  <a:spcBef>
                    <a:spcPct val="0"/>
                  </a:spcBef>
                  <a:spcAft>
                    <a:spcPct val="0"/>
                  </a:spcAft>
                  <a:buClr>
                    <a:srgbClr val="FFFFFF"/>
                  </a:buClr>
                  <a:defRPr sz="1428" b="1">
                    <a:solidFill>
                      <a:srgbClr val="FFFFFF"/>
                    </a:solidFill>
                    <a:latin typeface="Arial Nova Light"/>
                    <a:ea typeface="ＭＳ Ｐゴシック"/>
                    <a:cs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l"/>
                <a:r>
                  <a:rPr lang="fr-FR" sz="1200" dirty="0"/>
                  <a:t>Base informationnelle</a:t>
                </a:r>
              </a:p>
            </p:txBody>
          </p:sp>
          <p:sp>
            <p:nvSpPr>
              <p:cNvPr id="58" name="TextBox 158">
                <a:extLst>
                  <a:ext uri="{FF2B5EF4-FFF2-40B4-BE49-F238E27FC236}">
                    <a16:creationId xmlns:a16="http://schemas.microsoft.com/office/drawing/2014/main" id="{1460ED0D-F9BB-459C-BA16-C0153848D8F6}"/>
                  </a:ext>
                </a:extLst>
              </p:cNvPr>
              <p:cNvSpPr txBox="1">
                <a:spLocks/>
              </p:cNvSpPr>
              <p:nvPr/>
            </p:nvSpPr>
            <p:spPr bwMode="gray">
              <a:xfrm>
                <a:off x="313705" y="1097276"/>
                <a:ext cx="3980758" cy="973339"/>
              </a:xfrm>
              <a:prstGeom prst="rect">
                <a:avLst/>
              </a:prstGeom>
              <a:solidFill>
                <a:srgbClr val="7BD5F1"/>
              </a:solidFill>
              <a:ln w="12700">
                <a:solidFill>
                  <a:srgbClr val="F8F8F8"/>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t" anchorCtr="0">
                <a:noAutofit/>
              </a:bodyPr>
              <a:lstStyle>
                <a:defPPr>
                  <a:defRPr lang="fr-FR"/>
                </a:defPPr>
                <a:lvl1pPr algn="ctr" defTabSz="932962" fontAlgn="base">
                  <a:spcBef>
                    <a:spcPct val="0"/>
                  </a:spcBef>
                  <a:spcAft>
                    <a:spcPct val="0"/>
                  </a:spcAft>
                  <a:buClr>
                    <a:srgbClr val="FFFFFF"/>
                  </a:buClr>
                  <a:defRPr sz="1428" b="1">
                    <a:solidFill>
                      <a:srgbClr val="FFFFFF"/>
                    </a:solidFill>
                    <a:latin typeface="Arial Nova Light"/>
                    <a:ea typeface="ＭＳ Ｐゴシック"/>
                    <a:cs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l"/>
                <a:r>
                  <a:rPr lang="fr-FR" sz="1200" dirty="0"/>
                  <a:t>Base Transactionnel</a:t>
                </a:r>
              </a:p>
            </p:txBody>
          </p:sp>
          <p:sp>
            <p:nvSpPr>
              <p:cNvPr id="59" name="TextBox 158">
                <a:extLst>
                  <a:ext uri="{FF2B5EF4-FFF2-40B4-BE49-F238E27FC236}">
                    <a16:creationId xmlns:a16="http://schemas.microsoft.com/office/drawing/2014/main" id="{091B9B1E-BBEB-4131-A253-1AA1F5722BEA}"/>
                  </a:ext>
                </a:extLst>
              </p:cNvPr>
              <p:cNvSpPr txBox="1">
                <a:spLocks/>
              </p:cNvSpPr>
              <p:nvPr/>
            </p:nvSpPr>
            <p:spPr bwMode="gray">
              <a:xfrm>
                <a:off x="356072" y="1364993"/>
                <a:ext cx="1244304" cy="264732"/>
              </a:xfrm>
              <a:prstGeom prst="rect">
                <a:avLst/>
              </a:prstGeom>
              <a:solidFill>
                <a:srgbClr val="D2F0FA"/>
              </a:solidFill>
              <a:ln w="12700">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ctr" anchorCtr="0">
                <a:noAutofit/>
              </a:bodyPr>
              <a:lstStyle>
                <a:defPPr>
                  <a:defRPr lang="fr-FR"/>
                </a:defPPr>
                <a:lvl1pPr algn="ctr" defTabSz="932962" fontAlgn="base">
                  <a:spcBef>
                    <a:spcPct val="0"/>
                  </a:spcBef>
                  <a:spcAft>
                    <a:spcPct val="0"/>
                  </a:spcAft>
                  <a:buClr>
                    <a:srgbClr val="FFFFFF"/>
                  </a:buClr>
                  <a:defRPr sz="1428" b="1">
                    <a:solidFill>
                      <a:srgbClr val="FFFFFF"/>
                    </a:solidFill>
                    <a:latin typeface="Arial Nova Light"/>
                    <a:ea typeface="ＭＳ Ｐゴシック"/>
                    <a:cs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l"/>
                <a:r>
                  <a:rPr lang="fr-FR" sz="1100" dirty="0">
                    <a:solidFill>
                      <a:schemeClr val="tx1"/>
                    </a:solidFill>
                  </a:rPr>
                  <a:t>Dépôt de dossier</a:t>
                </a:r>
              </a:p>
            </p:txBody>
          </p:sp>
          <p:sp>
            <p:nvSpPr>
              <p:cNvPr id="60" name="TextBox 158">
                <a:extLst>
                  <a:ext uri="{FF2B5EF4-FFF2-40B4-BE49-F238E27FC236}">
                    <a16:creationId xmlns:a16="http://schemas.microsoft.com/office/drawing/2014/main" id="{D1404243-6957-4B60-86B5-08089A5CA0AD}"/>
                  </a:ext>
                </a:extLst>
              </p:cNvPr>
              <p:cNvSpPr txBox="1">
                <a:spLocks/>
              </p:cNvSpPr>
              <p:nvPr/>
            </p:nvSpPr>
            <p:spPr bwMode="gray">
              <a:xfrm>
                <a:off x="356072" y="1681902"/>
                <a:ext cx="1244304" cy="264732"/>
              </a:xfrm>
              <a:prstGeom prst="rect">
                <a:avLst/>
              </a:prstGeom>
              <a:solidFill>
                <a:srgbClr val="D2F0FA"/>
              </a:solidFill>
              <a:ln w="12700">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ctr" anchorCtr="0">
                <a:noAutofit/>
              </a:bodyPr>
              <a:lstStyle>
                <a:defPPr>
                  <a:defRPr lang="fr-FR"/>
                </a:defPPr>
                <a:lvl1pPr defTabSz="932962" fontAlgn="base">
                  <a:spcBef>
                    <a:spcPct val="0"/>
                  </a:spcBef>
                  <a:spcAft>
                    <a:spcPct val="0"/>
                  </a:spcAft>
                  <a:buClr>
                    <a:srgbClr val="FFFFFF"/>
                  </a:buClr>
                  <a:defRPr sz="1100" b="1">
                    <a:solidFill>
                      <a:schemeClr val="tx1"/>
                    </a:solidFill>
                    <a:latin typeface="Arial Nova Light"/>
                    <a:ea typeface="ＭＳ Ｐゴシック"/>
                    <a:cs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fr-FR" dirty="0"/>
                  <a:t>Notification</a:t>
                </a:r>
              </a:p>
            </p:txBody>
          </p:sp>
          <p:sp>
            <p:nvSpPr>
              <p:cNvPr id="61" name="TextBox 158">
                <a:extLst>
                  <a:ext uri="{FF2B5EF4-FFF2-40B4-BE49-F238E27FC236}">
                    <a16:creationId xmlns:a16="http://schemas.microsoft.com/office/drawing/2014/main" id="{4EB125A5-C20F-4B07-B11F-7DAC01550897}"/>
                  </a:ext>
                </a:extLst>
              </p:cNvPr>
              <p:cNvSpPr txBox="1">
                <a:spLocks/>
              </p:cNvSpPr>
              <p:nvPr/>
            </p:nvSpPr>
            <p:spPr bwMode="gray">
              <a:xfrm>
                <a:off x="1642561" y="1365287"/>
                <a:ext cx="1244304" cy="264732"/>
              </a:xfrm>
              <a:prstGeom prst="rect">
                <a:avLst/>
              </a:prstGeom>
              <a:solidFill>
                <a:srgbClr val="D2F0FA"/>
              </a:solidFill>
              <a:ln w="12700">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ctr" anchorCtr="0">
                <a:noAutofit/>
              </a:bodyPr>
              <a:lstStyle>
                <a:defPPr>
                  <a:defRPr lang="fr-FR"/>
                </a:defPPr>
                <a:lvl1pPr algn="ctr" defTabSz="932962" fontAlgn="base">
                  <a:spcBef>
                    <a:spcPct val="0"/>
                  </a:spcBef>
                  <a:spcAft>
                    <a:spcPct val="0"/>
                  </a:spcAft>
                  <a:buClr>
                    <a:srgbClr val="FFFFFF"/>
                  </a:buClr>
                  <a:defRPr sz="1428" b="1">
                    <a:solidFill>
                      <a:srgbClr val="FFFFFF"/>
                    </a:solidFill>
                    <a:latin typeface="Arial Nova Light"/>
                    <a:ea typeface="ＭＳ Ｐゴシック"/>
                    <a:cs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l"/>
                <a:r>
                  <a:rPr lang="fr-FR" sz="1000" dirty="0">
                    <a:solidFill>
                      <a:schemeClr val="tx1"/>
                    </a:solidFill>
                  </a:rPr>
                  <a:t>Délivrance de l’Acte</a:t>
                </a:r>
              </a:p>
            </p:txBody>
          </p:sp>
          <p:sp>
            <p:nvSpPr>
              <p:cNvPr id="62" name="TextBox 158">
                <a:extLst>
                  <a:ext uri="{FF2B5EF4-FFF2-40B4-BE49-F238E27FC236}">
                    <a16:creationId xmlns:a16="http://schemas.microsoft.com/office/drawing/2014/main" id="{85B02360-471A-4CDB-985B-D6B8DF0275A7}"/>
                  </a:ext>
                </a:extLst>
              </p:cNvPr>
              <p:cNvSpPr txBox="1">
                <a:spLocks/>
              </p:cNvSpPr>
              <p:nvPr/>
            </p:nvSpPr>
            <p:spPr bwMode="gray">
              <a:xfrm>
                <a:off x="1642561" y="1680830"/>
                <a:ext cx="1244304" cy="264732"/>
              </a:xfrm>
              <a:prstGeom prst="rect">
                <a:avLst/>
              </a:prstGeom>
              <a:solidFill>
                <a:srgbClr val="D2F0FA"/>
              </a:solidFill>
              <a:ln w="12700">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ctr" anchorCtr="0">
                <a:noAutofit/>
              </a:bodyPr>
              <a:lstStyle>
                <a:defPPr>
                  <a:defRPr lang="fr-FR"/>
                </a:defPPr>
                <a:lvl1pPr algn="ctr" defTabSz="932962" fontAlgn="base">
                  <a:spcBef>
                    <a:spcPct val="0"/>
                  </a:spcBef>
                  <a:spcAft>
                    <a:spcPct val="0"/>
                  </a:spcAft>
                  <a:buClr>
                    <a:srgbClr val="FFFFFF"/>
                  </a:buClr>
                  <a:defRPr sz="1428" b="1">
                    <a:solidFill>
                      <a:srgbClr val="FFFFFF"/>
                    </a:solidFill>
                    <a:latin typeface="Arial Nova Light"/>
                    <a:ea typeface="ＭＳ Ｐゴシック"/>
                    <a:cs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l"/>
                <a:r>
                  <a:rPr lang="fr-FR" sz="1000" dirty="0">
                    <a:solidFill>
                      <a:schemeClr val="tx1"/>
                    </a:solidFill>
                  </a:rPr>
                  <a:t>Suivi de traitement</a:t>
                </a:r>
              </a:p>
            </p:txBody>
          </p:sp>
          <p:sp>
            <p:nvSpPr>
              <p:cNvPr id="63" name="TextBox 158">
                <a:extLst>
                  <a:ext uri="{FF2B5EF4-FFF2-40B4-BE49-F238E27FC236}">
                    <a16:creationId xmlns:a16="http://schemas.microsoft.com/office/drawing/2014/main" id="{C731DEBC-311F-45C6-9C22-79A97A7521CF}"/>
                  </a:ext>
                </a:extLst>
              </p:cNvPr>
              <p:cNvSpPr txBox="1">
                <a:spLocks/>
              </p:cNvSpPr>
              <p:nvPr/>
            </p:nvSpPr>
            <p:spPr bwMode="gray">
              <a:xfrm>
                <a:off x="2932358" y="1364993"/>
                <a:ext cx="1244304" cy="264732"/>
              </a:xfrm>
              <a:prstGeom prst="rect">
                <a:avLst/>
              </a:prstGeom>
              <a:solidFill>
                <a:srgbClr val="D2F0FA"/>
              </a:solidFill>
              <a:ln w="12700">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ctr" anchorCtr="0">
                <a:noAutofit/>
              </a:bodyPr>
              <a:lstStyle>
                <a:defPPr>
                  <a:defRPr lang="fr-FR"/>
                </a:defPPr>
                <a:lvl1pPr defTabSz="932962" fontAlgn="base">
                  <a:spcBef>
                    <a:spcPct val="0"/>
                  </a:spcBef>
                  <a:spcAft>
                    <a:spcPct val="0"/>
                  </a:spcAft>
                  <a:buClr>
                    <a:srgbClr val="FFFFFF"/>
                  </a:buClr>
                  <a:defRPr sz="1100" b="1">
                    <a:solidFill>
                      <a:schemeClr val="tx1"/>
                    </a:solidFill>
                    <a:latin typeface="Arial Nova Light"/>
                    <a:ea typeface="ＭＳ Ｐゴシック"/>
                    <a:cs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fr-FR" dirty="0"/>
                  <a:t>Dépôt de recours</a:t>
                </a:r>
              </a:p>
            </p:txBody>
          </p:sp>
          <p:sp>
            <p:nvSpPr>
              <p:cNvPr id="64" name="TextBox 158">
                <a:extLst>
                  <a:ext uri="{FF2B5EF4-FFF2-40B4-BE49-F238E27FC236}">
                    <a16:creationId xmlns:a16="http://schemas.microsoft.com/office/drawing/2014/main" id="{5065C342-6CB7-4D33-BC2C-C340EEAE5F99}"/>
                  </a:ext>
                </a:extLst>
              </p:cNvPr>
              <p:cNvSpPr txBox="1">
                <a:spLocks/>
              </p:cNvSpPr>
              <p:nvPr/>
            </p:nvSpPr>
            <p:spPr bwMode="gray">
              <a:xfrm>
                <a:off x="2929050" y="1674548"/>
                <a:ext cx="1244304" cy="264732"/>
              </a:xfrm>
              <a:prstGeom prst="rect">
                <a:avLst/>
              </a:prstGeom>
              <a:solidFill>
                <a:srgbClr val="D2F0FA"/>
              </a:solidFill>
              <a:ln w="12700">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ctr" anchorCtr="0">
                <a:noAutofit/>
              </a:bodyPr>
              <a:lstStyle>
                <a:defPPr>
                  <a:defRPr lang="fr-FR"/>
                </a:defPPr>
                <a:lvl1pPr algn="ctr" defTabSz="932962" fontAlgn="base">
                  <a:spcBef>
                    <a:spcPct val="0"/>
                  </a:spcBef>
                  <a:spcAft>
                    <a:spcPct val="0"/>
                  </a:spcAft>
                  <a:buClr>
                    <a:srgbClr val="FFFFFF"/>
                  </a:buClr>
                  <a:defRPr sz="1428" b="1">
                    <a:solidFill>
                      <a:srgbClr val="FFFFFF"/>
                    </a:solidFill>
                    <a:latin typeface="Arial Nova Light"/>
                    <a:ea typeface="ＭＳ Ｐゴシック"/>
                    <a:cs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l"/>
                <a:r>
                  <a:rPr lang="fr-FR" sz="1000" dirty="0">
                    <a:solidFill>
                      <a:schemeClr val="tx1"/>
                    </a:solidFill>
                  </a:rPr>
                  <a:t>SVA</a:t>
                </a:r>
              </a:p>
            </p:txBody>
          </p:sp>
        </p:grpSp>
        <p:grpSp>
          <p:nvGrpSpPr>
            <p:cNvPr id="23" name="Groupe 22">
              <a:extLst>
                <a:ext uri="{FF2B5EF4-FFF2-40B4-BE49-F238E27FC236}">
                  <a16:creationId xmlns:a16="http://schemas.microsoft.com/office/drawing/2014/main" id="{060B3C75-88E1-4019-AF9C-339EE4ED7D99}"/>
                </a:ext>
              </a:extLst>
            </p:cNvPr>
            <p:cNvGrpSpPr/>
            <p:nvPr/>
          </p:nvGrpSpPr>
          <p:grpSpPr>
            <a:xfrm>
              <a:off x="9560815" y="1567591"/>
              <a:ext cx="2714140" cy="5115287"/>
              <a:chOff x="9244514" y="738032"/>
              <a:chExt cx="2714140" cy="5115287"/>
            </a:xfrm>
          </p:grpSpPr>
          <p:sp>
            <p:nvSpPr>
              <p:cNvPr id="48" name="Rectangle 47">
                <a:extLst>
                  <a:ext uri="{FF2B5EF4-FFF2-40B4-BE49-F238E27FC236}">
                    <a16:creationId xmlns:a16="http://schemas.microsoft.com/office/drawing/2014/main" id="{744DD1DF-6071-4099-A26B-4A4948EF917B}"/>
                  </a:ext>
                </a:extLst>
              </p:cNvPr>
              <p:cNvSpPr>
                <a:spLocks/>
              </p:cNvSpPr>
              <p:nvPr/>
            </p:nvSpPr>
            <p:spPr bwMode="gray">
              <a:xfrm>
                <a:off x="9244514" y="738032"/>
                <a:ext cx="2714140" cy="5115287"/>
              </a:xfrm>
              <a:prstGeom prst="rect">
                <a:avLst/>
              </a:prstGeom>
              <a:solidFill>
                <a:schemeClr val="accent2">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t" anchorCtr="0">
                <a:noAutofit/>
              </a:bodyPr>
              <a:lstStyle/>
              <a:p>
                <a:pPr defTabSz="932962" fontAlgn="base">
                  <a:spcBef>
                    <a:spcPct val="0"/>
                  </a:spcBef>
                  <a:spcAft>
                    <a:spcPct val="0"/>
                  </a:spcAft>
                </a:pPr>
                <a:r>
                  <a:rPr lang="fr-FR" sz="1428" b="1" dirty="0">
                    <a:solidFill>
                      <a:srgbClr val="149AC2"/>
                    </a:solidFill>
                    <a:latin typeface="Arial Nova Light"/>
                    <a:ea typeface="ＭＳ Ｐゴシック"/>
                  </a:rPr>
                  <a:t>Outils mutualisés:</a:t>
                </a:r>
                <a:endParaRPr lang="fr-FR" sz="1428" i="1" dirty="0">
                  <a:solidFill>
                    <a:srgbClr val="149AC2"/>
                  </a:solidFill>
                  <a:latin typeface="Arial Nova Light"/>
                  <a:ea typeface="ＭＳ Ｐゴシック"/>
                </a:endParaRPr>
              </a:p>
              <a:p>
                <a:pPr defTabSz="932962" fontAlgn="base">
                  <a:spcBef>
                    <a:spcPct val="0"/>
                  </a:spcBef>
                  <a:spcAft>
                    <a:spcPct val="0"/>
                  </a:spcAft>
                </a:pPr>
                <a:endParaRPr lang="fr-FR" sz="1428" b="1" dirty="0">
                  <a:solidFill>
                    <a:srgbClr val="149AC2"/>
                  </a:solidFill>
                  <a:latin typeface="Arial Nova Light"/>
                  <a:ea typeface="ＭＳ Ｐゴシック"/>
                </a:endParaRPr>
              </a:p>
            </p:txBody>
          </p:sp>
          <p:sp>
            <p:nvSpPr>
              <p:cNvPr id="49" name="TextBox 156">
                <a:extLst>
                  <a:ext uri="{FF2B5EF4-FFF2-40B4-BE49-F238E27FC236}">
                    <a16:creationId xmlns:a16="http://schemas.microsoft.com/office/drawing/2014/main" id="{FE07C577-14A4-44C5-A68E-23133EAB9696}"/>
                  </a:ext>
                </a:extLst>
              </p:cNvPr>
              <p:cNvSpPr txBox="1">
                <a:spLocks/>
              </p:cNvSpPr>
              <p:nvPr/>
            </p:nvSpPr>
            <p:spPr bwMode="gray">
              <a:xfrm>
                <a:off x="9338878" y="1122434"/>
                <a:ext cx="2539417" cy="1452828"/>
              </a:xfrm>
              <a:prstGeom prst="rect">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t" anchorCtr="0">
                <a:noAutofit/>
              </a:bodyPr>
              <a:lstStyle>
                <a:defPPr>
                  <a:defRPr lang="en-US"/>
                </a:defPPr>
                <a:lvl1pPr algn="ctr">
                  <a:defRPr sz="900" b="1">
                    <a:solidFill>
                      <a:srgbClr val="00B0F0"/>
                    </a:solidFill>
                    <a:latin typeface="Arial" panose="020B0604020202020204" pitchFamily="34" charset="0"/>
                    <a:cs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l" defTabSz="932962" fontAlgn="base">
                  <a:spcBef>
                    <a:spcPct val="0"/>
                  </a:spcBef>
                  <a:spcAft>
                    <a:spcPct val="0"/>
                  </a:spcAft>
                </a:pPr>
                <a:r>
                  <a:rPr lang="fr-FR" sz="1428" dirty="0" err="1">
                    <a:solidFill>
                      <a:srgbClr val="333333"/>
                    </a:solidFill>
                    <a:latin typeface="Arial Nova Light"/>
                    <a:ea typeface="ＭＳ Ｐゴシック"/>
                  </a:rPr>
                  <a:t>Enablers</a:t>
                </a:r>
                <a:r>
                  <a:rPr lang="fr-FR" sz="1428" dirty="0">
                    <a:solidFill>
                      <a:srgbClr val="333333"/>
                    </a:solidFill>
                    <a:latin typeface="Arial Nova Light"/>
                    <a:ea typeface="ＭＳ Ｐゴシック"/>
                  </a:rPr>
                  <a:t> :</a:t>
                </a:r>
              </a:p>
              <a:p>
                <a:pPr marL="285750" indent="-285750" algn="l" defTabSz="932962" fontAlgn="base">
                  <a:spcBef>
                    <a:spcPct val="0"/>
                  </a:spcBef>
                  <a:spcAft>
                    <a:spcPct val="0"/>
                  </a:spcAft>
                  <a:buFont typeface="Arial" panose="020B0604020202020204" pitchFamily="34" charset="0"/>
                  <a:buChar char="•"/>
                </a:pPr>
                <a:r>
                  <a:rPr lang="fr-FR" sz="1200" b="0" dirty="0">
                    <a:solidFill>
                      <a:srgbClr val="333333"/>
                    </a:solidFill>
                    <a:latin typeface="Arial Nova Light"/>
                    <a:ea typeface="ＭＳ Ｐゴシック"/>
                  </a:rPr>
                  <a:t>Service d’authentification des citoyens </a:t>
                </a:r>
              </a:p>
              <a:p>
                <a:pPr marL="285750" indent="-285750" algn="l" defTabSz="932962" fontAlgn="base">
                  <a:spcBef>
                    <a:spcPct val="0"/>
                  </a:spcBef>
                  <a:spcAft>
                    <a:spcPct val="0"/>
                  </a:spcAft>
                  <a:buFont typeface="Arial" panose="020B0604020202020204" pitchFamily="34" charset="0"/>
                  <a:buChar char="•"/>
                </a:pPr>
                <a:r>
                  <a:rPr lang="fr-FR" sz="1200" b="0" dirty="0">
                    <a:solidFill>
                      <a:srgbClr val="333333"/>
                    </a:solidFill>
                    <a:latin typeface="Arial Nova Light"/>
                    <a:ea typeface="ＭＳ Ｐゴシック"/>
                  </a:rPr>
                  <a:t>Signature électronique citoyens</a:t>
                </a:r>
              </a:p>
              <a:p>
                <a:pPr marL="285750" indent="-285750" algn="l" defTabSz="932962" fontAlgn="base">
                  <a:spcBef>
                    <a:spcPct val="0"/>
                  </a:spcBef>
                  <a:spcAft>
                    <a:spcPct val="0"/>
                  </a:spcAft>
                  <a:buFont typeface="Arial" panose="020B0604020202020204" pitchFamily="34" charset="0"/>
                  <a:buChar char="•"/>
                </a:pPr>
                <a:r>
                  <a:rPr lang="fr-FR" sz="1200" b="0" dirty="0">
                    <a:solidFill>
                      <a:srgbClr val="333333"/>
                    </a:solidFill>
                    <a:latin typeface="Arial Nova Light"/>
                    <a:ea typeface="ＭＳ Ｐゴシック"/>
                  </a:rPr>
                  <a:t>Paiement électronique</a:t>
                </a:r>
              </a:p>
              <a:p>
                <a:pPr marL="285750" indent="-285750" algn="l" defTabSz="932962" fontAlgn="base">
                  <a:spcBef>
                    <a:spcPct val="0"/>
                  </a:spcBef>
                  <a:spcAft>
                    <a:spcPct val="0"/>
                  </a:spcAft>
                  <a:buFont typeface="Arial" panose="020B0604020202020204" pitchFamily="34" charset="0"/>
                  <a:buChar char="•"/>
                </a:pPr>
                <a:r>
                  <a:rPr lang="fr-FR" sz="1200" b="0" dirty="0">
                    <a:solidFill>
                      <a:srgbClr val="333333"/>
                    </a:solidFill>
                    <a:latin typeface="Arial Nova Light"/>
                    <a:ea typeface="ＭＳ Ｐゴシック"/>
                  </a:rPr>
                  <a:t>Système d’intégration des Coffres fort</a:t>
                </a:r>
              </a:p>
              <a:p>
                <a:pPr marL="285750" indent="-285750" algn="l" defTabSz="932962" fontAlgn="base">
                  <a:spcBef>
                    <a:spcPct val="0"/>
                  </a:spcBef>
                  <a:spcAft>
                    <a:spcPct val="0"/>
                  </a:spcAft>
                  <a:buFont typeface="Arial" panose="020B0604020202020204" pitchFamily="34" charset="0"/>
                  <a:buChar char="•"/>
                </a:pPr>
                <a:endParaRPr lang="fr-FR" sz="1200" b="0" dirty="0">
                  <a:solidFill>
                    <a:srgbClr val="333333"/>
                  </a:solidFill>
                  <a:latin typeface="Arial Nova Light"/>
                  <a:ea typeface="ＭＳ Ｐゴシック"/>
                </a:endParaRPr>
              </a:p>
            </p:txBody>
          </p:sp>
          <p:sp>
            <p:nvSpPr>
              <p:cNvPr id="50" name="TextBox 156">
                <a:extLst>
                  <a:ext uri="{FF2B5EF4-FFF2-40B4-BE49-F238E27FC236}">
                    <a16:creationId xmlns:a16="http://schemas.microsoft.com/office/drawing/2014/main" id="{F773713C-4603-480F-A983-A315E51E77D8}"/>
                  </a:ext>
                </a:extLst>
              </p:cNvPr>
              <p:cNvSpPr txBox="1">
                <a:spLocks/>
              </p:cNvSpPr>
              <p:nvPr/>
            </p:nvSpPr>
            <p:spPr bwMode="gray">
              <a:xfrm>
                <a:off x="9349021" y="2634315"/>
                <a:ext cx="2519129" cy="1589370"/>
              </a:xfrm>
              <a:prstGeom prst="rect">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t" anchorCtr="0">
                <a:noAutofit/>
              </a:bodyPr>
              <a:lstStyle>
                <a:defPPr>
                  <a:defRPr lang="en-US"/>
                </a:defPPr>
                <a:lvl1pPr algn="ctr">
                  <a:defRPr sz="900" b="1">
                    <a:solidFill>
                      <a:srgbClr val="00B0F0"/>
                    </a:solidFill>
                    <a:latin typeface="Arial" panose="020B0604020202020204" pitchFamily="34" charset="0"/>
                    <a:cs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l" defTabSz="932962" fontAlgn="base">
                  <a:spcBef>
                    <a:spcPct val="0"/>
                  </a:spcBef>
                  <a:spcAft>
                    <a:spcPct val="0"/>
                  </a:spcAft>
                </a:pPr>
                <a:r>
                  <a:rPr lang="fr-FR" sz="1428" dirty="0">
                    <a:solidFill>
                      <a:srgbClr val="333333"/>
                    </a:solidFill>
                    <a:latin typeface="Arial Nova Light"/>
                    <a:ea typeface="ＭＳ Ｐゴシック"/>
                  </a:rPr>
                  <a:t>Services utilisateurs :</a:t>
                </a:r>
              </a:p>
              <a:p>
                <a:pPr algn="l" defTabSz="932962" fontAlgn="base">
                  <a:spcBef>
                    <a:spcPct val="0"/>
                  </a:spcBef>
                  <a:spcAft>
                    <a:spcPct val="0"/>
                  </a:spcAft>
                </a:pPr>
                <a:r>
                  <a:rPr lang="fr-FR" sz="1200" b="0" dirty="0">
                    <a:solidFill>
                      <a:srgbClr val="333333"/>
                    </a:solidFill>
                    <a:latin typeface="Arial Nova Light"/>
                    <a:ea typeface="ＭＳ Ｐゴシック"/>
                  </a:rPr>
                  <a:t>Services d’aide en ligne et de prise en charge des citoyens </a:t>
                </a:r>
              </a:p>
              <a:p>
                <a:pPr marL="171450" indent="-171450" algn="l" defTabSz="932962" fontAlgn="base">
                  <a:spcBef>
                    <a:spcPct val="0"/>
                  </a:spcBef>
                  <a:spcAft>
                    <a:spcPct val="0"/>
                  </a:spcAft>
                  <a:buFont typeface="Arial" panose="020B0604020202020204" pitchFamily="34" charset="0"/>
                  <a:buChar char="•"/>
                </a:pPr>
                <a:r>
                  <a:rPr lang="fr-FR" sz="1200" b="0" dirty="0">
                    <a:solidFill>
                      <a:srgbClr val="333333"/>
                    </a:solidFill>
                    <a:latin typeface="Arial Nova Light"/>
                    <a:ea typeface="ＭＳ Ｐゴシック"/>
                  </a:rPr>
                  <a:t>Dépôt des réclamations « </a:t>
                </a:r>
                <a:r>
                  <a:rPr lang="fr-FR" sz="1200" b="0" dirty="0" err="1">
                    <a:solidFill>
                      <a:srgbClr val="333333"/>
                    </a:solidFill>
                    <a:latin typeface="Arial Nova Light"/>
                    <a:ea typeface="ＭＳ Ｐゴシック"/>
                  </a:rPr>
                  <a:t>Chikaya</a:t>
                </a:r>
                <a:r>
                  <a:rPr lang="fr-FR" sz="1200" b="0" dirty="0">
                    <a:solidFill>
                      <a:srgbClr val="333333"/>
                    </a:solidFill>
                    <a:latin typeface="Arial Nova Light"/>
                    <a:ea typeface="ＭＳ Ｐゴシック"/>
                  </a:rPr>
                  <a:t> »</a:t>
                </a:r>
              </a:p>
              <a:p>
                <a:pPr marL="171450" indent="-171450" algn="l" defTabSz="932962" fontAlgn="base">
                  <a:spcBef>
                    <a:spcPct val="0"/>
                  </a:spcBef>
                  <a:spcAft>
                    <a:spcPct val="0"/>
                  </a:spcAft>
                  <a:buFont typeface="Arial" panose="020B0604020202020204" pitchFamily="34" charset="0"/>
                  <a:buChar char="•"/>
                </a:pPr>
                <a:r>
                  <a:rPr lang="fr-FR" sz="1200" b="0" dirty="0">
                    <a:solidFill>
                      <a:srgbClr val="333333"/>
                    </a:solidFill>
                    <a:latin typeface="Arial Nova Light"/>
                    <a:ea typeface="ＭＳ Ｐゴシック"/>
                  </a:rPr>
                  <a:t>Télé-RDV</a:t>
                </a:r>
              </a:p>
              <a:p>
                <a:pPr marL="171450" indent="-171450" algn="l" defTabSz="932962" fontAlgn="base">
                  <a:spcBef>
                    <a:spcPct val="0"/>
                  </a:spcBef>
                  <a:spcAft>
                    <a:spcPct val="0"/>
                  </a:spcAft>
                  <a:buFont typeface="Arial" panose="020B0604020202020204" pitchFamily="34" charset="0"/>
                  <a:buChar char="•"/>
                </a:pPr>
                <a:r>
                  <a:rPr lang="fr-FR" sz="1200" b="0" dirty="0">
                    <a:solidFill>
                      <a:srgbClr val="333333"/>
                    </a:solidFill>
                    <a:latin typeface="Arial Nova Light"/>
                    <a:ea typeface="ＭＳ Ｐゴシック"/>
                  </a:rPr>
                  <a:t>Chat</a:t>
                </a:r>
              </a:p>
              <a:p>
                <a:pPr marL="171450" indent="-171450" algn="l" defTabSz="932962" fontAlgn="base">
                  <a:spcBef>
                    <a:spcPct val="0"/>
                  </a:spcBef>
                  <a:spcAft>
                    <a:spcPct val="0"/>
                  </a:spcAft>
                  <a:buFont typeface="Arial" panose="020B0604020202020204" pitchFamily="34" charset="0"/>
                  <a:buChar char="•"/>
                </a:pPr>
                <a:r>
                  <a:rPr lang="fr-FR" sz="1200" b="0" dirty="0">
                    <a:solidFill>
                      <a:srgbClr val="333333"/>
                    </a:solidFill>
                    <a:latin typeface="Arial Nova Light"/>
                    <a:ea typeface="ＭＳ Ｐゴシック"/>
                  </a:rPr>
                  <a:t>Notification</a:t>
                </a:r>
              </a:p>
              <a:p>
                <a:pPr algn="l" defTabSz="932962" fontAlgn="base">
                  <a:spcBef>
                    <a:spcPct val="0"/>
                  </a:spcBef>
                  <a:spcAft>
                    <a:spcPct val="0"/>
                  </a:spcAft>
                </a:pPr>
                <a:r>
                  <a:rPr lang="fr-FR" sz="1428" dirty="0">
                    <a:solidFill>
                      <a:srgbClr val="333333"/>
                    </a:solidFill>
                    <a:latin typeface="Arial Nova Light"/>
                    <a:ea typeface="ＭＳ Ｐゴシック"/>
                  </a:rPr>
                  <a:t> </a:t>
                </a:r>
              </a:p>
            </p:txBody>
          </p:sp>
          <p:sp>
            <p:nvSpPr>
              <p:cNvPr id="51" name="TextBox 156">
                <a:extLst>
                  <a:ext uri="{FF2B5EF4-FFF2-40B4-BE49-F238E27FC236}">
                    <a16:creationId xmlns:a16="http://schemas.microsoft.com/office/drawing/2014/main" id="{A87BE723-8B36-4604-8841-24307841EC32}"/>
                  </a:ext>
                </a:extLst>
              </p:cNvPr>
              <p:cNvSpPr txBox="1">
                <a:spLocks/>
              </p:cNvSpPr>
              <p:nvPr/>
            </p:nvSpPr>
            <p:spPr bwMode="gray">
              <a:xfrm>
                <a:off x="9342019" y="4334391"/>
                <a:ext cx="2519129" cy="1452828"/>
              </a:xfrm>
              <a:prstGeom prst="rect">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t" anchorCtr="0">
                <a:noAutofit/>
              </a:bodyPr>
              <a:lstStyle>
                <a:defPPr>
                  <a:defRPr lang="en-US"/>
                </a:defPPr>
                <a:lvl1pPr algn="ctr">
                  <a:defRPr sz="900" b="1">
                    <a:solidFill>
                      <a:srgbClr val="00B0F0"/>
                    </a:solidFill>
                    <a:latin typeface="Arial" panose="020B0604020202020204" pitchFamily="34" charset="0"/>
                    <a:cs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l" defTabSz="932962" fontAlgn="base">
                  <a:spcBef>
                    <a:spcPct val="0"/>
                  </a:spcBef>
                  <a:spcAft>
                    <a:spcPct val="0"/>
                  </a:spcAft>
                </a:pPr>
                <a:r>
                  <a:rPr lang="fr-FR" sz="1428" dirty="0">
                    <a:solidFill>
                      <a:srgbClr val="333333"/>
                    </a:solidFill>
                    <a:latin typeface="Arial Nova Light"/>
                    <a:ea typeface="ＭＳ Ｐゴシック"/>
                  </a:rPr>
                  <a:t>Services administrations:</a:t>
                </a:r>
              </a:p>
              <a:p>
                <a:pPr marL="171450" indent="-171450" algn="l" defTabSz="932962" fontAlgn="base">
                  <a:spcBef>
                    <a:spcPct val="0"/>
                  </a:spcBef>
                  <a:spcAft>
                    <a:spcPct val="0"/>
                  </a:spcAft>
                  <a:buFont typeface="Arial" panose="020B0604020202020204" pitchFamily="34" charset="0"/>
                  <a:buChar char="•"/>
                </a:pPr>
                <a:r>
                  <a:rPr lang="fr-FR" sz="1200" b="0" dirty="0">
                    <a:solidFill>
                      <a:srgbClr val="333333"/>
                    </a:solidFill>
                    <a:latin typeface="Arial Nova Light"/>
                    <a:ea typeface="ＭＳ Ｐゴシック"/>
                  </a:rPr>
                  <a:t>Plateforme d’authentification de l’administration </a:t>
                </a:r>
              </a:p>
              <a:p>
                <a:pPr marL="171450" indent="-171450" algn="l" defTabSz="932962" fontAlgn="base">
                  <a:spcBef>
                    <a:spcPct val="0"/>
                  </a:spcBef>
                  <a:spcAft>
                    <a:spcPct val="0"/>
                  </a:spcAft>
                  <a:buFont typeface="Arial" panose="020B0604020202020204" pitchFamily="34" charset="0"/>
                  <a:buChar char="•"/>
                </a:pPr>
                <a:r>
                  <a:rPr lang="fr-FR" sz="1200" b="0" dirty="0">
                    <a:solidFill>
                      <a:srgbClr val="333333"/>
                    </a:solidFill>
                    <a:latin typeface="Arial Nova Light"/>
                    <a:ea typeface="ＭＳ Ｐゴシック"/>
                  </a:rPr>
                  <a:t>Plateforme de signature électronique de l’administration</a:t>
                </a:r>
              </a:p>
              <a:p>
                <a:pPr marL="171450" indent="-171450" algn="l" defTabSz="932962" fontAlgn="base">
                  <a:spcBef>
                    <a:spcPct val="0"/>
                  </a:spcBef>
                  <a:spcAft>
                    <a:spcPct val="0"/>
                  </a:spcAft>
                  <a:buFont typeface="Arial" panose="020B0604020202020204" pitchFamily="34" charset="0"/>
                  <a:buChar char="•"/>
                </a:pPr>
                <a:r>
                  <a:rPr lang="fr-FR" sz="1200" b="0" dirty="0">
                    <a:solidFill>
                      <a:srgbClr val="333333"/>
                    </a:solidFill>
                    <a:latin typeface="Arial Nova Light"/>
                    <a:ea typeface="ＭＳ Ｐゴシック"/>
                  </a:rPr>
                  <a:t>Parapheur électronique (dématérialisation des processus)</a:t>
                </a:r>
              </a:p>
            </p:txBody>
          </p:sp>
        </p:grpSp>
        <p:grpSp>
          <p:nvGrpSpPr>
            <p:cNvPr id="24" name="Groupe 23">
              <a:extLst>
                <a:ext uri="{FF2B5EF4-FFF2-40B4-BE49-F238E27FC236}">
                  <a16:creationId xmlns:a16="http://schemas.microsoft.com/office/drawing/2014/main" id="{F5FFA317-24C5-4402-9600-19430E986A4F}"/>
                </a:ext>
              </a:extLst>
            </p:cNvPr>
            <p:cNvGrpSpPr/>
            <p:nvPr/>
          </p:nvGrpSpPr>
          <p:grpSpPr>
            <a:xfrm>
              <a:off x="549648" y="3185606"/>
              <a:ext cx="8853902" cy="617851"/>
              <a:chOff x="233347" y="2356047"/>
              <a:chExt cx="8853902" cy="617851"/>
            </a:xfrm>
          </p:grpSpPr>
          <p:sp>
            <p:nvSpPr>
              <p:cNvPr id="45" name="Rectangle 44">
                <a:extLst>
                  <a:ext uri="{FF2B5EF4-FFF2-40B4-BE49-F238E27FC236}">
                    <a16:creationId xmlns:a16="http://schemas.microsoft.com/office/drawing/2014/main" id="{A1C3AD17-4D7D-4CA9-9D62-C49A7F588D23}"/>
                  </a:ext>
                </a:extLst>
              </p:cNvPr>
              <p:cNvSpPr>
                <a:spLocks/>
              </p:cNvSpPr>
              <p:nvPr/>
            </p:nvSpPr>
            <p:spPr bwMode="gray">
              <a:xfrm>
                <a:off x="233347" y="2356047"/>
                <a:ext cx="8853902" cy="617851"/>
              </a:xfrm>
              <a:prstGeom prst="rect">
                <a:avLst/>
              </a:prstGeom>
              <a:solidFill>
                <a:schemeClr val="accent2">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t" anchorCtr="0">
                <a:noAutofit/>
              </a:bodyPr>
              <a:lstStyle/>
              <a:p>
                <a:pPr defTabSz="932962" fontAlgn="base">
                  <a:spcBef>
                    <a:spcPct val="0"/>
                  </a:spcBef>
                  <a:spcAft>
                    <a:spcPct val="0"/>
                  </a:spcAft>
                </a:pPr>
                <a:r>
                  <a:rPr lang="fr-FR" sz="1428" b="1" dirty="0">
                    <a:solidFill>
                      <a:srgbClr val="149AC2"/>
                    </a:solidFill>
                    <a:latin typeface="Arial Nova Light"/>
                    <a:ea typeface="ＭＳ Ｐゴシック"/>
                  </a:rPr>
                  <a:t>Plateforme d’interopérabilité </a:t>
                </a:r>
              </a:p>
            </p:txBody>
          </p:sp>
          <p:sp>
            <p:nvSpPr>
              <p:cNvPr id="46" name="TextBox 133">
                <a:extLst>
                  <a:ext uri="{FF2B5EF4-FFF2-40B4-BE49-F238E27FC236}">
                    <a16:creationId xmlns:a16="http://schemas.microsoft.com/office/drawing/2014/main" id="{4F26F42C-E3F4-48DD-87EE-140ACEA6BB9E}"/>
                  </a:ext>
                </a:extLst>
              </p:cNvPr>
              <p:cNvSpPr txBox="1">
                <a:spLocks/>
              </p:cNvSpPr>
              <p:nvPr/>
            </p:nvSpPr>
            <p:spPr bwMode="gray">
              <a:xfrm>
                <a:off x="2498886" y="2654170"/>
                <a:ext cx="2131743" cy="242797"/>
              </a:xfrm>
              <a:prstGeom prst="rect">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ctr" anchorCtr="0">
                <a:noAutofit/>
              </a:bodyPr>
              <a:lstStyle>
                <a:defPPr>
                  <a:defRPr lang="en-US"/>
                </a:defPPr>
                <a:lvl1pPr algn="ctr">
                  <a:defRPr sz="900" b="1">
                    <a:solidFill>
                      <a:srgbClr val="00B0F0"/>
                    </a:solidFill>
                    <a:latin typeface="Arial" panose="020B0604020202020204" pitchFamily="34" charset="0"/>
                    <a:cs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defTabSz="932962" fontAlgn="base">
                  <a:spcBef>
                    <a:spcPct val="0"/>
                  </a:spcBef>
                  <a:spcAft>
                    <a:spcPct val="0"/>
                  </a:spcAft>
                </a:pPr>
                <a:r>
                  <a:rPr lang="fr-FR" sz="1428" b="0" dirty="0">
                    <a:solidFill>
                      <a:srgbClr val="333333"/>
                    </a:solidFill>
                    <a:latin typeface="Arial Nova Light"/>
                    <a:ea typeface="ＭＳ Ｐゴシック"/>
                  </a:rPr>
                  <a:t>API Management</a:t>
                </a:r>
              </a:p>
            </p:txBody>
          </p:sp>
          <p:sp>
            <p:nvSpPr>
              <p:cNvPr id="47" name="TextBox 133">
                <a:extLst>
                  <a:ext uri="{FF2B5EF4-FFF2-40B4-BE49-F238E27FC236}">
                    <a16:creationId xmlns:a16="http://schemas.microsoft.com/office/drawing/2014/main" id="{878A184F-B579-4980-9CE1-42D813B241DA}"/>
                  </a:ext>
                </a:extLst>
              </p:cNvPr>
              <p:cNvSpPr txBox="1">
                <a:spLocks/>
              </p:cNvSpPr>
              <p:nvPr/>
            </p:nvSpPr>
            <p:spPr bwMode="gray">
              <a:xfrm>
                <a:off x="4667568" y="2652864"/>
                <a:ext cx="2131743" cy="242797"/>
              </a:xfrm>
              <a:prstGeom prst="rect">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ctr" anchorCtr="0">
                <a:noAutofit/>
              </a:bodyPr>
              <a:lstStyle>
                <a:defPPr>
                  <a:defRPr lang="en-US"/>
                </a:defPPr>
                <a:lvl1pPr algn="ctr">
                  <a:defRPr sz="900" b="1">
                    <a:solidFill>
                      <a:srgbClr val="00B0F0"/>
                    </a:solidFill>
                    <a:latin typeface="Arial" panose="020B0604020202020204" pitchFamily="34" charset="0"/>
                    <a:cs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defTabSz="932962" fontAlgn="base">
                  <a:spcBef>
                    <a:spcPct val="0"/>
                  </a:spcBef>
                  <a:spcAft>
                    <a:spcPct val="0"/>
                  </a:spcAft>
                </a:pPr>
                <a:r>
                  <a:rPr lang="fr-FR" sz="1428" b="0" dirty="0">
                    <a:solidFill>
                      <a:srgbClr val="333333"/>
                    </a:solidFill>
                    <a:latin typeface="Arial Nova Light"/>
                    <a:ea typeface="ＭＳ Ｐゴシック"/>
                  </a:rPr>
                  <a:t>Transfert des fichiers </a:t>
                </a:r>
              </a:p>
            </p:txBody>
          </p:sp>
        </p:grpSp>
        <p:grpSp>
          <p:nvGrpSpPr>
            <p:cNvPr id="25" name="Group 5">
              <a:extLst>
                <a:ext uri="{FF2B5EF4-FFF2-40B4-BE49-F238E27FC236}">
                  <a16:creationId xmlns:a16="http://schemas.microsoft.com/office/drawing/2014/main" id="{F1C6D615-C0B5-4158-B132-99BC2214E50B}"/>
                </a:ext>
              </a:extLst>
            </p:cNvPr>
            <p:cNvGrpSpPr/>
            <p:nvPr/>
          </p:nvGrpSpPr>
          <p:grpSpPr>
            <a:xfrm>
              <a:off x="983193" y="3795170"/>
              <a:ext cx="7661205" cy="207702"/>
              <a:chOff x="1227694" y="3592560"/>
              <a:chExt cx="4595588" cy="216000"/>
            </a:xfrm>
          </p:grpSpPr>
          <p:cxnSp>
            <p:nvCxnSpPr>
              <p:cNvPr id="41" name="Straight Arrow Connector 128">
                <a:extLst>
                  <a:ext uri="{FF2B5EF4-FFF2-40B4-BE49-F238E27FC236}">
                    <a16:creationId xmlns:a16="http://schemas.microsoft.com/office/drawing/2014/main" id="{DB9C02F0-6B3F-4E3C-812C-7A712A5ECA51}"/>
                  </a:ext>
                </a:extLst>
              </p:cNvPr>
              <p:cNvCxnSpPr>
                <a:cxnSpLocks/>
              </p:cNvCxnSpPr>
              <p:nvPr/>
            </p:nvCxnSpPr>
            <p:spPr bwMode="gray">
              <a:xfrm>
                <a:off x="1227694" y="3592560"/>
                <a:ext cx="1" cy="216000"/>
              </a:xfrm>
              <a:prstGeom prst="straightConnector1">
                <a:avLst/>
              </a:prstGeom>
              <a:ln w="6350" cap="sq">
                <a:solidFill>
                  <a:srgbClr val="808080"/>
                </a:solidFill>
                <a:prstDash val="solid"/>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Straight Arrow Connector 129">
                <a:extLst>
                  <a:ext uri="{FF2B5EF4-FFF2-40B4-BE49-F238E27FC236}">
                    <a16:creationId xmlns:a16="http://schemas.microsoft.com/office/drawing/2014/main" id="{E4624FE4-00A3-484C-871F-CF2A99E9CB6B}"/>
                  </a:ext>
                </a:extLst>
              </p:cNvPr>
              <p:cNvCxnSpPr>
                <a:cxnSpLocks/>
              </p:cNvCxnSpPr>
              <p:nvPr/>
            </p:nvCxnSpPr>
            <p:spPr bwMode="gray">
              <a:xfrm>
                <a:off x="2710463" y="3592560"/>
                <a:ext cx="1" cy="216000"/>
              </a:xfrm>
              <a:prstGeom prst="straightConnector1">
                <a:avLst/>
              </a:prstGeom>
              <a:ln w="6350" cap="sq">
                <a:solidFill>
                  <a:srgbClr val="808080"/>
                </a:solidFill>
                <a:prstDash val="solid"/>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Arrow Connector 130">
                <a:extLst>
                  <a:ext uri="{FF2B5EF4-FFF2-40B4-BE49-F238E27FC236}">
                    <a16:creationId xmlns:a16="http://schemas.microsoft.com/office/drawing/2014/main" id="{ACE319C2-E278-457D-8A01-65616334A020}"/>
                  </a:ext>
                </a:extLst>
              </p:cNvPr>
              <p:cNvCxnSpPr>
                <a:cxnSpLocks/>
              </p:cNvCxnSpPr>
              <p:nvPr/>
            </p:nvCxnSpPr>
            <p:spPr bwMode="gray">
              <a:xfrm>
                <a:off x="4266872" y="3592560"/>
                <a:ext cx="1" cy="216000"/>
              </a:xfrm>
              <a:prstGeom prst="straightConnector1">
                <a:avLst/>
              </a:prstGeom>
              <a:ln w="6350" cap="sq">
                <a:solidFill>
                  <a:srgbClr val="808080"/>
                </a:solidFill>
                <a:prstDash val="solid"/>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136">
                <a:extLst>
                  <a:ext uri="{FF2B5EF4-FFF2-40B4-BE49-F238E27FC236}">
                    <a16:creationId xmlns:a16="http://schemas.microsoft.com/office/drawing/2014/main" id="{F24E4713-6BD8-4D7E-9D40-BBCBDDE2D7DE}"/>
                  </a:ext>
                </a:extLst>
              </p:cNvPr>
              <p:cNvCxnSpPr>
                <a:cxnSpLocks/>
              </p:cNvCxnSpPr>
              <p:nvPr/>
            </p:nvCxnSpPr>
            <p:spPr bwMode="gray">
              <a:xfrm>
                <a:off x="5823281" y="3592560"/>
                <a:ext cx="1" cy="216000"/>
              </a:xfrm>
              <a:prstGeom prst="straightConnector1">
                <a:avLst/>
              </a:prstGeom>
              <a:ln w="6350" cap="sq">
                <a:solidFill>
                  <a:srgbClr val="808080"/>
                </a:solidFill>
                <a:prstDash val="solid"/>
                <a:miter lim="8000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6" name="Groupe 25">
              <a:extLst>
                <a:ext uri="{FF2B5EF4-FFF2-40B4-BE49-F238E27FC236}">
                  <a16:creationId xmlns:a16="http://schemas.microsoft.com/office/drawing/2014/main" id="{F2341A87-1154-412F-8749-7F85E90CF500}"/>
                </a:ext>
              </a:extLst>
            </p:cNvPr>
            <p:cNvGrpSpPr/>
            <p:nvPr/>
          </p:nvGrpSpPr>
          <p:grpSpPr>
            <a:xfrm>
              <a:off x="556918" y="4831526"/>
              <a:ext cx="8853902" cy="1406793"/>
              <a:chOff x="203565" y="3857300"/>
              <a:chExt cx="8853902" cy="1224406"/>
            </a:xfrm>
          </p:grpSpPr>
          <p:sp>
            <p:nvSpPr>
              <p:cNvPr id="35" name="Rectangle 34">
                <a:extLst>
                  <a:ext uri="{FF2B5EF4-FFF2-40B4-BE49-F238E27FC236}">
                    <a16:creationId xmlns:a16="http://schemas.microsoft.com/office/drawing/2014/main" id="{AE6F9DD5-E3BC-4EE7-BB37-822B9DDFE6F0}"/>
                  </a:ext>
                </a:extLst>
              </p:cNvPr>
              <p:cNvSpPr>
                <a:spLocks/>
              </p:cNvSpPr>
              <p:nvPr/>
            </p:nvSpPr>
            <p:spPr bwMode="gray">
              <a:xfrm>
                <a:off x="203565" y="4224612"/>
                <a:ext cx="8853902" cy="857094"/>
              </a:xfrm>
              <a:prstGeom prst="rect">
                <a:avLst/>
              </a:prstGeom>
              <a:solidFill>
                <a:schemeClr val="accent6">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ctr" anchorCtr="0">
                <a:noAutofit/>
              </a:bodyPr>
              <a:lstStyle/>
              <a:p>
                <a:pPr defTabSz="932962" fontAlgn="base">
                  <a:spcBef>
                    <a:spcPct val="0"/>
                  </a:spcBef>
                  <a:spcAft>
                    <a:spcPct val="0"/>
                  </a:spcAft>
                  <a:buClr>
                    <a:srgbClr val="FFFFFF"/>
                  </a:buClr>
                </a:pPr>
                <a:r>
                  <a:rPr lang="fr-FR" sz="1428" b="1" dirty="0">
                    <a:solidFill>
                      <a:srgbClr val="FFFFFF"/>
                    </a:solidFill>
                    <a:latin typeface="Arial Nova Light"/>
                    <a:ea typeface="ＭＳ Ｐゴシック"/>
                    <a:cs typeface="Arial" panose="020B0604020202020204" pitchFamily="34" charset="0"/>
                  </a:rPr>
                  <a:t>Plateforme </a:t>
                </a:r>
              </a:p>
              <a:p>
                <a:pPr defTabSz="932962" fontAlgn="base">
                  <a:spcBef>
                    <a:spcPct val="0"/>
                  </a:spcBef>
                  <a:spcAft>
                    <a:spcPct val="0"/>
                  </a:spcAft>
                  <a:buClr>
                    <a:srgbClr val="FFFFFF"/>
                  </a:buClr>
                </a:pPr>
                <a:r>
                  <a:rPr lang="fr-FR" sz="1428" b="1" dirty="0">
                    <a:solidFill>
                      <a:srgbClr val="FFFFFF"/>
                    </a:solidFill>
                    <a:latin typeface="Arial Nova Light"/>
                    <a:ea typeface="ＭＳ Ｐゴシック"/>
                    <a:cs typeface="Arial" panose="020B0604020202020204" pitchFamily="34" charset="0"/>
                  </a:rPr>
                  <a:t>De collaboration entre </a:t>
                </a:r>
              </a:p>
              <a:p>
                <a:pPr defTabSz="932962" fontAlgn="base">
                  <a:spcBef>
                    <a:spcPct val="0"/>
                  </a:spcBef>
                  <a:spcAft>
                    <a:spcPct val="0"/>
                  </a:spcAft>
                  <a:buClr>
                    <a:srgbClr val="FFFFFF"/>
                  </a:buClr>
                </a:pPr>
                <a:r>
                  <a:rPr lang="fr-FR" sz="1428" b="1" dirty="0">
                    <a:solidFill>
                      <a:srgbClr val="FFFFFF"/>
                    </a:solidFill>
                    <a:latin typeface="Arial Nova Light"/>
                    <a:ea typeface="ＭＳ Ｐゴシック"/>
                    <a:cs typeface="Arial" panose="020B0604020202020204" pitchFamily="34" charset="0"/>
                  </a:rPr>
                  <a:t>l’es administrations </a:t>
                </a:r>
              </a:p>
              <a:p>
                <a:pPr defTabSz="932962" fontAlgn="base">
                  <a:spcBef>
                    <a:spcPct val="0"/>
                  </a:spcBef>
                  <a:spcAft>
                    <a:spcPct val="0"/>
                  </a:spcAft>
                  <a:buClr>
                    <a:srgbClr val="FFFFFF"/>
                  </a:buClr>
                </a:pPr>
                <a:r>
                  <a:rPr lang="fr-FR" sz="1428" b="1" dirty="0">
                    <a:solidFill>
                      <a:srgbClr val="FFFFFF"/>
                    </a:solidFill>
                    <a:latin typeface="Arial Nova Light"/>
                    <a:ea typeface="ＭＳ Ｐゴシック"/>
                    <a:cs typeface="Arial" panose="020B0604020202020204" pitchFamily="34" charset="0"/>
                  </a:rPr>
                  <a:t>(</a:t>
                </a:r>
                <a:r>
                  <a:rPr lang="fr-FR" sz="1428" b="1" dirty="0" err="1">
                    <a:solidFill>
                      <a:srgbClr val="FFFFFF"/>
                    </a:solidFill>
                    <a:latin typeface="Arial Nova Light"/>
                    <a:ea typeface="ＭＳ Ｐゴシック"/>
                    <a:cs typeface="Arial" panose="020B0604020202020204" pitchFamily="34" charset="0"/>
                  </a:rPr>
                  <a:t>wikipédia</a:t>
                </a:r>
                <a:r>
                  <a:rPr lang="fr-FR" sz="1428" b="1" dirty="0">
                    <a:solidFill>
                      <a:srgbClr val="FFFFFF"/>
                    </a:solidFill>
                    <a:latin typeface="Arial Nova Light"/>
                    <a:ea typeface="ＭＳ Ｐゴシック"/>
                    <a:cs typeface="Arial" panose="020B0604020202020204" pitchFamily="34" charset="0"/>
                  </a:rPr>
                  <a:t>)</a:t>
                </a:r>
              </a:p>
            </p:txBody>
          </p:sp>
          <p:sp>
            <p:nvSpPr>
              <p:cNvPr id="36" name="TrackerNum 16">
                <a:extLst>
                  <a:ext uri="{FF2B5EF4-FFF2-40B4-BE49-F238E27FC236}">
                    <a16:creationId xmlns:a16="http://schemas.microsoft.com/office/drawing/2014/main" id="{6CAB7125-EA73-46B4-9D64-69E811013AE1}"/>
                  </a:ext>
                </a:extLst>
              </p:cNvPr>
              <p:cNvSpPr/>
              <p:nvPr>
                <p:custDataLst>
                  <p:tags r:id="rId1"/>
                </p:custDataLst>
              </p:nvPr>
            </p:nvSpPr>
            <p:spPr>
              <a:xfrm>
                <a:off x="4791147" y="3857300"/>
                <a:ext cx="396618" cy="367312"/>
              </a:xfrm>
              <a:prstGeom prst="ellipse">
                <a:avLst/>
              </a:prstGeom>
              <a:solidFill>
                <a:schemeClr val="accent6">
                  <a:lumMod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defTabSz="932962" fontAlgn="base">
                  <a:spcBef>
                    <a:spcPct val="0"/>
                  </a:spcBef>
                  <a:spcAft>
                    <a:spcPct val="0"/>
                  </a:spcAft>
                  <a:defRPr/>
                </a:pPr>
                <a:r>
                  <a:rPr lang="fr-FR" sz="1428" b="1" dirty="0">
                    <a:solidFill>
                      <a:srgbClr val="FFFFFF"/>
                    </a:solidFill>
                    <a:latin typeface="Arial"/>
                    <a:ea typeface="ＭＳ Ｐゴシック"/>
                  </a:rPr>
                  <a:t>+</a:t>
                </a:r>
              </a:p>
            </p:txBody>
          </p:sp>
          <p:sp>
            <p:nvSpPr>
              <p:cNvPr id="37" name="TextBox 167">
                <a:extLst>
                  <a:ext uri="{FF2B5EF4-FFF2-40B4-BE49-F238E27FC236}">
                    <a16:creationId xmlns:a16="http://schemas.microsoft.com/office/drawing/2014/main" id="{E1AA9B51-5994-49AB-B1BF-44B6A1117C0D}"/>
                  </a:ext>
                </a:extLst>
              </p:cNvPr>
              <p:cNvSpPr txBox="1">
                <a:spLocks/>
              </p:cNvSpPr>
              <p:nvPr/>
            </p:nvSpPr>
            <p:spPr bwMode="gray">
              <a:xfrm>
                <a:off x="2314215" y="4376716"/>
                <a:ext cx="1747707" cy="583251"/>
              </a:xfrm>
              <a:prstGeom prst="rect">
                <a:avLst/>
              </a:prstGeom>
              <a:solidFill>
                <a:schemeClr val="accent6">
                  <a:lumMod val="20000"/>
                  <a:lumOff val="80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ctr" anchorCtr="0">
                <a:noAutofit/>
              </a:bodyPr>
              <a:lstStyle>
                <a:defPPr>
                  <a:defRPr lang="en-US"/>
                </a:defPPr>
                <a:lvl1pPr algn="ctr">
                  <a:defRPr sz="900" b="1">
                    <a:solidFill>
                      <a:srgbClr val="00B0F0"/>
                    </a:solidFill>
                    <a:latin typeface="Arial" panose="020B0604020202020204" pitchFamily="34" charset="0"/>
                    <a:cs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defTabSz="932962" fontAlgn="base">
                  <a:spcBef>
                    <a:spcPct val="0"/>
                  </a:spcBef>
                  <a:spcAft>
                    <a:spcPct val="0"/>
                  </a:spcAft>
                </a:pPr>
                <a:r>
                  <a:rPr lang="fr-FR" sz="1428" b="0">
                    <a:solidFill>
                      <a:srgbClr val="333333"/>
                    </a:solidFill>
                    <a:latin typeface="Arial Nova Light"/>
                    <a:ea typeface="ＭＳ Ｐゴシック"/>
                  </a:rPr>
                  <a:t>Bibliothèque UI</a:t>
                </a:r>
              </a:p>
            </p:txBody>
          </p:sp>
          <p:sp>
            <p:nvSpPr>
              <p:cNvPr id="38" name="TextBox 168">
                <a:extLst>
                  <a:ext uri="{FF2B5EF4-FFF2-40B4-BE49-F238E27FC236}">
                    <a16:creationId xmlns:a16="http://schemas.microsoft.com/office/drawing/2014/main" id="{8EAC1C18-02C4-40E8-9101-1337BDD0DA1B}"/>
                  </a:ext>
                </a:extLst>
              </p:cNvPr>
              <p:cNvSpPr txBox="1">
                <a:spLocks/>
              </p:cNvSpPr>
              <p:nvPr/>
            </p:nvSpPr>
            <p:spPr bwMode="gray">
              <a:xfrm>
                <a:off x="4212322" y="4376716"/>
                <a:ext cx="1747707" cy="583251"/>
              </a:xfrm>
              <a:prstGeom prst="rect">
                <a:avLst/>
              </a:prstGeom>
              <a:solidFill>
                <a:schemeClr val="accent6">
                  <a:lumMod val="20000"/>
                  <a:lumOff val="80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ctr" anchorCtr="0">
                <a:noAutofit/>
              </a:bodyPr>
              <a:lstStyle>
                <a:defPPr>
                  <a:defRPr lang="en-US"/>
                </a:defPPr>
                <a:lvl1pPr algn="ctr">
                  <a:defRPr sz="900" b="1">
                    <a:solidFill>
                      <a:srgbClr val="00B0F0"/>
                    </a:solidFill>
                    <a:latin typeface="Arial" panose="020B0604020202020204" pitchFamily="34" charset="0"/>
                    <a:cs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defTabSz="932962" fontAlgn="base">
                  <a:spcBef>
                    <a:spcPct val="0"/>
                  </a:spcBef>
                  <a:spcAft>
                    <a:spcPct val="0"/>
                  </a:spcAft>
                </a:pPr>
                <a:r>
                  <a:rPr lang="fr-FR" sz="1428" b="0">
                    <a:solidFill>
                      <a:srgbClr val="333333"/>
                    </a:solidFill>
                    <a:latin typeface="Arial Nova Light"/>
                    <a:ea typeface="ＭＳ Ｐゴシック"/>
                  </a:rPr>
                  <a:t>Bonnes pratiques </a:t>
                </a:r>
              </a:p>
            </p:txBody>
          </p:sp>
          <p:sp>
            <p:nvSpPr>
              <p:cNvPr id="39" name="TextBox 169">
                <a:extLst>
                  <a:ext uri="{FF2B5EF4-FFF2-40B4-BE49-F238E27FC236}">
                    <a16:creationId xmlns:a16="http://schemas.microsoft.com/office/drawing/2014/main" id="{400D9012-0565-43D1-807E-FCD74F7CEBC8}"/>
                  </a:ext>
                </a:extLst>
              </p:cNvPr>
              <p:cNvSpPr txBox="1">
                <a:spLocks/>
              </p:cNvSpPr>
              <p:nvPr/>
            </p:nvSpPr>
            <p:spPr bwMode="gray">
              <a:xfrm>
                <a:off x="6083447" y="4376716"/>
                <a:ext cx="1125053" cy="583251"/>
              </a:xfrm>
              <a:prstGeom prst="rect">
                <a:avLst/>
              </a:prstGeom>
              <a:solidFill>
                <a:schemeClr val="accent6">
                  <a:lumMod val="20000"/>
                  <a:lumOff val="80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ctr" anchorCtr="0">
                <a:noAutofit/>
              </a:bodyPr>
              <a:lstStyle>
                <a:defPPr>
                  <a:defRPr lang="en-US"/>
                </a:defPPr>
                <a:lvl1pPr algn="ctr">
                  <a:defRPr sz="900" b="1">
                    <a:solidFill>
                      <a:srgbClr val="00B0F0"/>
                    </a:solidFill>
                    <a:latin typeface="Arial" panose="020B0604020202020204" pitchFamily="34" charset="0"/>
                    <a:cs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defTabSz="932962" fontAlgn="base">
                  <a:spcBef>
                    <a:spcPct val="0"/>
                  </a:spcBef>
                  <a:spcAft>
                    <a:spcPct val="0"/>
                  </a:spcAft>
                </a:pPr>
                <a:r>
                  <a:rPr lang="fr-FR" sz="1428" b="0">
                    <a:solidFill>
                      <a:srgbClr val="333333"/>
                    </a:solidFill>
                    <a:latin typeface="Arial Nova Light"/>
                    <a:ea typeface="ＭＳ Ｐゴシック"/>
                  </a:rPr>
                  <a:t>Forum</a:t>
                </a:r>
              </a:p>
            </p:txBody>
          </p:sp>
          <p:sp>
            <p:nvSpPr>
              <p:cNvPr id="40" name="TextBox 171">
                <a:extLst>
                  <a:ext uri="{FF2B5EF4-FFF2-40B4-BE49-F238E27FC236}">
                    <a16:creationId xmlns:a16="http://schemas.microsoft.com/office/drawing/2014/main" id="{E4909A65-7F66-4167-A98C-0326AB282CEE}"/>
                  </a:ext>
                </a:extLst>
              </p:cNvPr>
              <p:cNvSpPr txBox="1">
                <a:spLocks/>
              </p:cNvSpPr>
              <p:nvPr/>
            </p:nvSpPr>
            <p:spPr bwMode="gray">
              <a:xfrm>
                <a:off x="7339299" y="4376716"/>
                <a:ext cx="1125053" cy="583251"/>
              </a:xfrm>
              <a:prstGeom prst="rect">
                <a:avLst/>
              </a:prstGeom>
              <a:solidFill>
                <a:schemeClr val="accent6">
                  <a:lumMod val="20000"/>
                  <a:lumOff val="80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ctr" anchorCtr="0">
                <a:noAutofit/>
              </a:bodyPr>
              <a:lstStyle>
                <a:defPPr>
                  <a:defRPr lang="en-US"/>
                </a:defPPr>
                <a:lvl1pPr algn="ctr">
                  <a:defRPr sz="900" b="1">
                    <a:solidFill>
                      <a:srgbClr val="00B0F0"/>
                    </a:solidFill>
                    <a:latin typeface="Arial" panose="020B0604020202020204" pitchFamily="34" charset="0"/>
                    <a:cs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defTabSz="932962" fontAlgn="base">
                  <a:spcBef>
                    <a:spcPct val="0"/>
                  </a:spcBef>
                  <a:spcAft>
                    <a:spcPct val="0"/>
                  </a:spcAft>
                </a:pPr>
                <a:r>
                  <a:rPr lang="fr-FR" sz="1428" b="0">
                    <a:solidFill>
                      <a:srgbClr val="333333"/>
                    </a:solidFill>
                    <a:latin typeface="Arial Nova Light"/>
                    <a:ea typeface="ＭＳ Ｐゴシック"/>
                  </a:rPr>
                  <a:t>…</a:t>
                </a:r>
              </a:p>
            </p:txBody>
          </p:sp>
        </p:grpSp>
        <p:grpSp>
          <p:nvGrpSpPr>
            <p:cNvPr id="27" name="Groupe 26">
              <a:extLst>
                <a:ext uri="{FF2B5EF4-FFF2-40B4-BE49-F238E27FC236}">
                  <a16:creationId xmlns:a16="http://schemas.microsoft.com/office/drawing/2014/main" id="{4F519CC1-28CB-4770-ADF6-F01A02136D11}"/>
                </a:ext>
              </a:extLst>
            </p:cNvPr>
            <p:cNvGrpSpPr/>
            <p:nvPr/>
          </p:nvGrpSpPr>
          <p:grpSpPr>
            <a:xfrm>
              <a:off x="549647" y="4019642"/>
              <a:ext cx="8853902" cy="755766"/>
              <a:chOff x="233346" y="3190083"/>
              <a:chExt cx="8853902" cy="755766"/>
            </a:xfrm>
          </p:grpSpPr>
          <p:sp>
            <p:nvSpPr>
              <p:cNvPr id="28" name="Rectangle 27">
                <a:extLst>
                  <a:ext uri="{FF2B5EF4-FFF2-40B4-BE49-F238E27FC236}">
                    <a16:creationId xmlns:a16="http://schemas.microsoft.com/office/drawing/2014/main" id="{8CFB02F9-E507-4F5D-B80A-1B76490EF351}"/>
                  </a:ext>
                </a:extLst>
              </p:cNvPr>
              <p:cNvSpPr>
                <a:spLocks/>
              </p:cNvSpPr>
              <p:nvPr/>
            </p:nvSpPr>
            <p:spPr bwMode="gray">
              <a:xfrm>
                <a:off x="233346" y="3190083"/>
                <a:ext cx="8853902" cy="755766"/>
              </a:xfrm>
              <a:prstGeom prst="rect">
                <a:avLst/>
              </a:prstGeom>
              <a:solidFill>
                <a:schemeClr val="accent2">
                  <a:lumMod val="20000"/>
                  <a:lumOff val="8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t" anchorCtr="0">
                <a:noAutofit/>
              </a:bodyPr>
              <a:lstStyle/>
              <a:p>
                <a:pPr defTabSz="932962" fontAlgn="base">
                  <a:spcBef>
                    <a:spcPct val="0"/>
                  </a:spcBef>
                  <a:spcAft>
                    <a:spcPct val="0"/>
                  </a:spcAft>
                </a:pPr>
                <a:r>
                  <a:rPr lang="fr-FR" sz="1428" b="1" dirty="0">
                    <a:solidFill>
                      <a:srgbClr val="149AC2"/>
                    </a:solidFill>
                    <a:latin typeface="Arial Nova Light"/>
                    <a:ea typeface="ＭＳ Ｐゴシック"/>
                  </a:rPr>
                  <a:t>Applications métiers des administrations </a:t>
                </a:r>
              </a:p>
            </p:txBody>
          </p:sp>
          <p:sp>
            <p:nvSpPr>
              <p:cNvPr id="29" name="TextBox 133">
                <a:extLst>
                  <a:ext uri="{FF2B5EF4-FFF2-40B4-BE49-F238E27FC236}">
                    <a16:creationId xmlns:a16="http://schemas.microsoft.com/office/drawing/2014/main" id="{5A066D0C-4D49-4A70-91A5-B17C3DB16B0E}"/>
                  </a:ext>
                </a:extLst>
              </p:cNvPr>
              <p:cNvSpPr txBox="1">
                <a:spLocks/>
              </p:cNvSpPr>
              <p:nvPr/>
            </p:nvSpPr>
            <p:spPr bwMode="gray">
              <a:xfrm>
                <a:off x="386505" y="3509658"/>
                <a:ext cx="1516962" cy="242797"/>
              </a:xfrm>
              <a:prstGeom prst="rect">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ctr" anchorCtr="0">
                <a:noAutofit/>
              </a:bodyPr>
              <a:lstStyle>
                <a:defPPr>
                  <a:defRPr lang="en-US"/>
                </a:defPPr>
                <a:lvl1pPr algn="ctr">
                  <a:defRPr sz="900" b="1">
                    <a:solidFill>
                      <a:srgbClr val="00B0F0"/>
                    </a:solidFill>
                    <a:latin typeface="Arial" panose="020B0604020202020204" pitchFamily="34" charset="0"/>
                    <a:cs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defTabSz="932962" fontAlgn="base">
                  <a:spcBef>
                    <a:spcPct val="0"/>
                  </a:spcBef>
                  <a:spcAft>
                    <a:spcPct val="0"/>
                  </a:spcAft>
                </a:pPr>
                <a:r>
                  <a:rPr lang="fr-FR" sz="1428" b="0" dirty="0">
                    <a:solidFill>
                      <a:srgbClr val="333333"/>
                    </a:solidFill>
                    <a:latin typeface="Arial Nova Light"/>
                    <a:ea typeface="ＭＳ Ｐゴシック"/>
                  </a:rPr>
                  <a:t>Min. Intérieur</a:t>
                </a:r>
              </a:p>
            </p:txBody>
          </p:sp>
          <p:sp>
            <p:nvSpPr>
              <p:cNvPr id="30" name="TextBox 133">
                <a:extLst>
                  <a:ext uri="{FF2B5EF4-FFF2-40B4-BE49-F238E27FC236}">
                    <a16:creationId xmlns:a16="http://schemas.microsoft.com/office/drawing/2014/main" id="{F0A2ECFD-A114-44D5-9EBE-5A33386D4469}"/>
                  </a:ext>
                </a:extLst>
              </p:cNvPr>
              <p:cNvSpPr txBox="1">
                <a:spLocks/>
              </p:cNvSpPr>
              <p:nvPr/>
            </p:nvSpPr>
            <p:spPr bwMode="gray">
              <a:xfrm>
                <a:off x="1970004" y="3523658"/>
                <a:ext cx="1834245" cy="242797"/>
              </a:xfrm>
              <a:prstGeom prst="rect">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ctr" anchorCtr="0">
                <a:noAutofit/>
              </a:bodyPr>
              <a:lstStyle>
                <a:defPPr>
                  <a:defRPr lang="en-US"/>
                </a:defPPr>
                <a:lvl1pPr algn="ctr">
                  <a:defRPr sz="900" b="1">
                    <a:solidFill>
                      <a:srgbClr val="00B0F0"/>
                    </a:solidFill>
                    <a:latin typeface="Arial" panose="020B0604020202020204" pitchFamily="34" charset="0"/>
                    <a:cs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defTabSz="932962" fontAlgn="base">
                  <a:spcBef>
                    <a:spcPct val="0"/>
                  </a:spcBef>
                  <a:spcAft>
                    <a:spcPct val="0"/>
                  </a:spcAft>
                </a:pPr>
                <a:r>
                  <a:rPr lang="fr-FR" sz="1428" b="0" dirty="0">
                    <a:solidFill>
                      <a:srgbClr val="333333"/>
                    </a:solidFill>
                    <a:latin typeface="Arial Nova Light"/>
                    <a:ea typeface="ＭＳ Ｐゴシック"/>
                  </a:rPr>
                  <a:t>Collectivité territorial</a:t>
                </a:r>
              </a:p>
            </p:txBody>
          </p:sp>
          <p:sp>
            <p:nvSpPr>
              <p:cNvPr id="31" name="TextBox 133">
                <a:extLst>
                  <a:ext uri="{FF2B5EF4-FFF2-40B4-BE49-F238E27FC236}">
                    <a16:creationId xmlns:a16="http://schemas.microsoft.com/office/drawing/2014/main" id="{A256E870-A631-4216-A2B3-D1DA12A1D090}"/>
                  </a:ext>
                </a:extLst>
              </p:cNvPr>
              <p:cNvSpPr txBox="1">
                <a:spLocks/>
              </p:cNvSpPr>
              <p:nvPr/>
            </p:nvSpPr>
            <p:spPr bwMode="gray">
              <a:xfrm>
                <a:off x="3862159" y="3537320"/>
                <a:ext cx="1917539" cy="242797"/>
              </a:xfrm>
              <a:prstGeom prst="rect">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ctr" anchorCtr="0">
                <a:noAutofit/>
              </a:bodyPr>
              <a:lstStyle>
                <a:defPPr>
                  <a:defRPr lang="en-US"/>
                </a:defPPr>
                <a:lvl1pPr algn="ctr">
                  <a:defRPr sz="900" b="1">
                    <a:solidFill>
                      <a:srgbClr val="00B0F0"/>
                    </a:solidFill>
                    <a:latin typeface="Arial" panose="020B0604020202020204" pitchFamily="34" charset="0"/>
                    <a:cs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defTabSz="932962" fontAlgn="base">
                  <a:spcBef>
                    <a:spcPct val="0"/>
                  </a:spcBef>
                  <a:spcAft>
                    <a:spcPct val="0"/>
                  </a:spcAft>
                </a:pPr>
                <a:r>
                  <a:rPr lang="fr-FR" sz="1428" b="0" dirty="0">
                    <a:solidFill>
                      <a:srgbClr val="333333"/>
                    </a:solidFill>
                    <a:latin typeface="Arial Nova Light"/>
                    <a:ea typeface="ＭＳ Ｐゴシック"/>
                  </a:rPr>
                  <a:t>Autres administrations</a:t>
                </a:r>
              </a:p>
            </p:txBody>
          </p:sp>
          <p:sp>
            <p:nvSpPr>
              <p:cNvPr id="32" name="TextBox 158">
                <a:extLst>
                  <a:ext uri="{FF2B5EF4-FFF2-40B4-BE49-F238E27FC236}">
                    <a16:creationId xmlns:a16="http://schemas.microsoft.com/office/drawing/2014/main" id="{FEDD1DC6-CD0A-4A58-98AE-6F11E2B85E9F}"/>
                  </a:ext>
                </a:extLst>
              </p:cNvPr>
              <p:cNvSpPr txBox="1">
                <a:spLocks/>
              </p:cNvSpPr>
              <p:nvPr/>
            </p:nvSpPr>
            <p:spPr bwMode="gray">
              <a:xfrm>
                <a:off x="5936963" y="3208648"/>
                <a:ext cx="2512118" cy="716701"/>
              </a:xfrm>
              <a:prstGeom prst="rect">
                <a:avLst/>
              </a:prstGeom>
              <a:solidFill>
                <a:srgbClr val="D2F0FA"/>
              </a:solidFill>
              <a:ln w="12700">
                <a:solidFill>
                  <a:srgbClr val="5F5F5F"/>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ctr" anchorCtr="0">
                <a:noAutofit/>
              </a:bodyPr>
              <a:lstStyle>
                <a:defPPr>
                  <a:defRPr lang="fr-FR"/>
                </a:defPPr>
                <a:lvl1pPr algn="ctr" defTabSz="932962" fontAlgn="base">
                  <a:spcBef>
                    <a:spcPct val="0"/>
                  </a:spcBef>
                  <a:spcAft>
                    <a:spcPct val="0"/>
                  </a:spcAft>
                  <a:buClr>
                    <a:srgbClr val="FFFFFF"/>
                  </a:buClr>
                  <a:defRPr sz="1428" b="1">
                    <a:solidFill>
                      <a:srgbClr val="FFFFFF"/>
                    </a:solidFill>
                    <a:latin typeface="Arial Nova Light"/>
                    <a:ea typeface="ＭＳ Ｐゴシック"/>
                    <a:cs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l"/>
                <a:endParaRPr lang="fr-FR" sz="1000" dirty="0">
                  <a:solidFill>
                    <a:schemeClr val="tx1"/>
                  </a:solidFill>
                </a:endParaRPr>
              </a:p>
            </p:txBody>
          </p:sp>
          <p:sp>
            <p:nvSpPr>
              <p:cNvPr id="33" name="TextBox 133">
                <a:extLst>
                  <a:ext uri="{FF2B5EF4-FFF2-40B4-BE49-F238E27FC236}">
                    <a16:creationId xmlns:a16="http://schemas.microsoft.com/office/drawing/2014/main" id="{ECA5C1E5-88C2-45E8-A3AD-7B30D1C83B1D}"/>
                  </a:ext>
                </a:extLst>
              </p:cNvPr>
              <p:cNvSpPr txBox="1">
                <a:spLocks/>
              </p:cNvSpPr>
              <p:nvPr/>
            </p:nvSpPr>
            <p:spPr bwMode="gray">
              <a:xfrm>
                <a:off x="6108434" y="3613438"/>
                <a:ext cx="2068935" cy="242797"/>
              </a:xfrm>
              <a:prstGeom prst="rect">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ctr" anchorCtr="0">
                <a:noAutofit/>
              </a:bodyPr>
              <a:lstStyle>
                <a:defPPr>
                  <a:defRPr lang="en-US"/>
                </a:defPPr>
                <a:lvl1pPr algn="ctr">
                  <a:defRPr sz="900" b="1">
                    <a:solidFill>
                      <a:srgbClr val="00B0F0"/>
                    </a:solidFill>
                    <a:latin typeface="Arial" panose="020B0604020202020204" pitchFamily="34" charset="0"/>
                    <a:cs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defTabSz="932962" fontAlgn="base">
                  <a:spcBef>
                    <a:spcPct val="0"/>
                  </a:spcBef>
                  <a:spcAft>
                    <a:spcPct val="0"/>
                  </a:spcAft>
                </a:pPr>
                <a:r>
                  <a:rPr lang="fr-FR" sz="1428" b="0" dirty="0">
                    <a:solidFill>
                      <a:srgbClr val="333333"/>
                    </a:solidFill>
                    <a:latin typeface="Arial Nova Light"/>
                    <a:ea typeface="ＭＳ Ｐゴシック"/>
                  </a:rPr>
                  <a:t>Coffre fort</a:t>
                </a:r>
              </a:p>
            </p:txBody>
          </p:sp>
          <p:sp>
            <p:nvSpPr>
              <p:cNvPr id="34" name="TextBox 133">
                <a:extLst>
                  <a:ext uri="{FF2B5EF4-FFF2-40B4-BE49-F238E27FC236}">
                    <a16:creationId xmlns:a16="http://schemas.microsoft.com/office/drawing/2014/main" id="{FAD66873-65B4-4A78-B299-380D5FFF30F4}"/>
                  </a:ext>
                </a:extLst>
              </p:cNvPr>
              <p:cNvSpPr txBox="1">
                <a:spLocks/>
              </p:cNvSpPr>
              <p:nvPr/>
            </p:nvSpPr>
            <p:spPr bwMode="gray">
              <a:xfrm>
                <a:off x="6096000" y="3294022"/>
                <a:ext cx="2068935" cy="242797"/>
              </a:xfrm>
              <a:prstGeom prst="rect">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3462" tIns="73462" rIns="73462" bIns="73462" rtlCol="0" anchor="ctr" anchorCtr="0">
                <a:noAutofit/>
              </a:bodyPr>
              <a:lstStyle>
                <a:defPPr>
                  <a:defRPr lang="en-US"/>
                </a:defPPr>
                <a:lvl1pPr algn="ctr">
                  <a:defRPr sz="900" b="1">
                    <a:solidFill>
                      <a:srgbClr val="00B0F0"/>
                    </a:solidFill>
                    <a:latin typeface="Arial" panose="020B0604020202020204" pitchFamily="34" charset="0"/>
                    <a:cs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defTabSz="932962" fontAlgn="base">
                  <a:spcBef>
                    <a:spcPct val="0"/>
                  </a:spcBef>
                  <a:spcAft>
                    <a:spcPct val="0"/>
                  </a:spcAft>
                </a:pPr>
                <a:r>
                  <a:rPr lang="fr-FR" sz="1428" b="0" dirty="0">
                    <a:solidFill>
                      <a:srgbClr val="333333"/>
                    </a:solidFill>
                    <a:latin typeface="Arial Nova Light"/>
                    <a:ea typeface="ＭＳ Ｐゴシック"/>
                  </a:rPr>
                  <a:t>Parapheur électronique</a:t>
                </a:r>
              </a:p>
            </p:txBody>
          </p:sp>
        </p:grpSp>
      </p:grpSp>
      <p:sp>
        <p:nvSpPr>
          <p:cNvPr id="3" name="TextBox 10">
            <a:extLst>
              <a:ext uri="{FF2B5EF4-FFF2-40B4-BE49-F238E27FC236}">
                <a16:creationId xmlns:a16="http://schemas.microsoft.com/office/drawing/2014/main" id="{BC2F72C0-0FA5-4932-9533-9903895C30E0}"/>
              </a:ext>
            </a:extLst>
          </p:cNvPr>
          <p:cNvSpPr txBox="1"/>
          <p:nvPr/>
        </p:nvSpPr>
        <p:spPr>
          <a:xfrm>
            <a:off x="162299" y="1096138"/>
            <a:ext cx="11855949"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600" b="1" dirty="0">
                <a:solidFill>
                  <a:schemeClr val="accent4"/>
                </a:solidFill>
              </a:rPr>
              <a:t>Création d’un guichet unique de dépôt des demandes des citoyens – 6 mois publication d’une dizaine de service et d’ici 5 ans intégration de l’ensemble des services de l’état </a:t>
            </a:r>
          </a:p>
        </p:txBody>
      </p:sp>
    </p:spTree>
    <p:extLst>
      <p:ext uri="{BB962C8B-B14F-4D97-AF65-F5344CB8AC3E}">
        <p14:creationId xmlns:p14="http://schemas.microsoft.com/office/powerpoint/2010/main" val="33034982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FA779FED-58FE-4806-A6B8-1C0394DFBF12}"/>
              </a:ext>
            </a:extLst>
          </p:cNvPr>
          <p:cNvSpPr>
            <a:spLocks noGrp="1"/>
          </p:cNvSpPr>
          <p:nvPr>
            <p:ph type="title"/>
          </p:nvPr>
        </p:nvSpPr>
        <p:spPr>
          <a:xfrm>
            <a:off x="838076" y="2423965"/>
            <a:ext cx="10514229" cy="376834"/>
          </a:xfrm>
        </p:spPr>
        <p:txBody>
          <a:bodyPr/>
          <a:lstStyle/>
          <a:p>
            <a:pPr algn="ctr"/>
            <a:r>
              <a:rPr lang="fr-FR" sz="4489" dirty="0"/>
              <a:t>Merci pour votre aimable attention</a:t>
            </a:r>
            <a:endParaRPr lang="fr-MA" sz="4489" dirty="0"/>
          </a:p>
        </p:txBody>
      </p:sp>
    </p:spTree>
    <p:extLst>
      <p:ext uri="{BB962C8B-B14F-4D97-AF65-F5344CB8AC3E}">
        <p14:creationId xmlns:p14="http://schemas.microsoft.com/office/powerpoint/2010/main" val="9565163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65194" y="394020"/>
            <a:ext cx="11461613" cy="449470"/>
          </a:xfrm>
        </p:spPr>
        <p:txBody>
          <a:bodyPr/>
          <a:lstStyle/>
          <a:p>
            <a:r>
              <a:rPr lang="fr-FR" dirty="0"/>
              <a:t>1. Missions et Rôles de l’ADD</a:t>
            </a:r>
          </a:p>
        </p:txBody>
      </p:sp>
      <p:sp>
        <p:nvSpPr>
          <p:cNvPr id="3" name="Espace réservé du texte 2"/>
          <p:cNvSpPr>
            <a:spLocks noGrp="1"/>
          </p:cNvSpPr>
          <p:nvPr>
            <p:ph type="body" sz="quarter" idx="11"/>
          </p:nvPr>
        </p:nvSpPr>
        <p:spPr/>
        <p:txBody>
          <a:bodyPr/>
          <a:lstStyle/>
          <a:p>
            <a:pPr algn="just"/>
            <a:r>
              <a:rPr lang="fr-FR" altLang="de-DE" sz="1873" dirty="0">
                <a:solidFill>
                  <a:srgbClr val="103184"/>
                </a:solidFill>
              </a:rPr>
              <a:t>En vue d’ancrer de façon irréversible son ambition dans le domaine du Digital, le Maroc s’est doté d’un établissement stratégique* dédié au Digital, l’Agence de Développement du Digital (ADD), créée en vertu de la loi n°61-16</a:t>
            </a:r>
          </a:p>
          <a:p>
            <a:pPr algn="just"/>
            <a:endParaRPr lang="fr-FR" sz="1873" dirty="0">
              <a:solidFill>
                <a:srgbClr val="103184"/>
              </a:solidFill>
            </a:endParaRPr>
          </a:p>
        </p:txBody>
      </p:sp>
      <p:sp>
        <p:nvSpPr>
          <p:cNvPr id="9" name="Rectangle 8"/>
          <p:cNvSpPr/>
          <p:nvPr/>
        </p:nvSpPr>
        <p:spPr>
          <a:xfrm>
            <a:off x="569549" y="6414287"/>
            <a:ext cx="6654184" cy="236347"/>
          </a:xfrm>
          <a:prstGeom prst="rect">
            <a:avLst/>
          </a:prstGeom>
        </p:spPr>
        <p:txBody>
          <a:bodyPr wrap="square">
            <a:spAutoFit/>
          </a:bodyPr>
          <a:lstStyle/>
          <a:p>
            <a:r>
              <a:rPr lang="fr-FR" sz="936" i="1" dirty="0">
                <a:solidFill>
                  <a:schemeClr val="bg1">
                    <a:lumMod val="50000"/>
                  </a:schemeClr>
                </a:solidFill>
                <a:latin typeface="Helvetica" pitchFamily="2" charset="0"/>
              </a:rPr>
              <a:t>(*) réf. Loi organique n°17-18 modifiant et complétant la loi n°02-12 relative à la nomination aux fonctions supérieures</a:t>
            </a:r>
          </a:p>
        </p:txBody>
      </p:sp>
      <p:cxnSp>
        <p:nvCxnSpPr>
          <p:cNvPr id="10" name="Horizontal Line"/>
          <p:cNvCxnSpPr>
            <a:cxnSpLocks/>
          </p:cNvCxnSpPr>
          <p:nvPr/>
        </p:nvCxnSpPr>
        <p:spPr>
          <a:xfrm>
            <a:off x="6765661" y="2248303"/>
            <a:ext cx="4944166" cy="0"/>
          </a:xfrm>
          <a:prstGeom prst="line">
            <a:avLst/>
          </a:prstGeom>
          <a:noFill/>
          <a:ln w="22225" cap="flat" cmpd="sng" algn="ctr">
            <a:solidFill>
              <a:srgbClr val="8D9399"/>
            </a:solidFill>
            <a:prstDash val="solid"/>
          </a:ln>
          <a:effectLst/>
        </p:spPr>
      </p:cxnSp>
      <p:sp>
        <p:nvSpPr>
          <p:cNvPr id="11" name="ListLeanHorizontalTextTopic1"/>
          <p:cNvSpPr txBox="1">
            <a:spLocks/>
          </p:cNvSpPr>
          <p:nvPr/>
        </p:nvSpPr>
        <p:spPr>
          <a:xfrm>
            <a:off x="6765661" y="2007067"/>
            <a:ext cx="4244204" cy="308069"/>
          </a:xfrm>
          <a:prstGeom prst="rect">
            <a:avLst/>
          </a:prstGeom>
          <a:noFill/>
          <a:ln w="9525">
            <a:noFill/>
          </a:ln>
          <a:effectLst/>
        </p:spPr>
        <p:txBody>
          <a:bodyPr vert="horz" wrap="square" lIns="0" tIns="0" rIns="0" bIns="112367" rtlCol="0" anchor="b">
            <a:spAutoFit/>
          </a:bodyPr>
          <a:lstStyle/>
          <a:p>
            <a:pPr fontAlgn="base">
              <a:lnSpc>
                <a:spcPct val="90000"/>
              </a:lnSpc>
              <a:spcBef>
                <a:spcPts val="624"/>
              </a:spcBef>
              <a:spcAft>
                <a:spcPct val="0"/>
              </a:spcAft>
            </a:pPr>
            <a:r>
              <a:rPr lang="fr-FR" sz="1405" b="1">
                <a:solidFill>
                  <a:srgbClr val="000000"/>
                </a:solidFill>
                <a:latin typeface="Helvetica Rounded" pitchFamily="50" charset="0"/>
                <a:cs typeface="Arial Narrow" pitchFamily="34" charset="0"/>
              </a:rPr>
              <a:t>Missions principales en lien avec le digital</a:t>
            </a:r>
            <a:endParaRPr lang="fr-FR" sz="1405" b="1" dirty="0">
              <a:solidFill>
                <a:srgbClr val="000000"/>
              </a:solidFill>
              <a:latin typeface="Helvetica Rounded" pitchFamily="50" charset="0"/>
              <a:cs typeface="Arial Narrow" pitchFamily="34" charset="0"/>
            </a:endParaRPr>
          </a:p>
        </p:txBody>
      </p:sp>
      <p:cxnSp>
        <p:nvCxnSpPr>
          <p:cNvPr id="12" name="Horizontal Line"/>
          <p:cNvCxnSpPr>
            <a:cxnSpLocks/>
          </p:cNvCxnSpPr>
          <p:nvPr/>
        </p:nvCxnSpPr>
        <p:spPr>
          <a:xfrm>
            <a:off x="2096682" y="2248303"/>
            <a:ext cx="4382329" cy="0"/>
          </a:xfrm>
          <a:prstGeom prst="line">
            <a:avLst/>
          </a:prstGeom>
          <a:noFill/>
          <a:ln w="22225" cap="flat" cmpd="sng" algn="ctr">
            <a:solidFill>
              <a:srgbClr val="8D9399"/>
            </a:solidFill>
            <a:prstDash val="solid"/>
          </a:ln>
          <a:effectLst/>
        </p:spPr>
      </p:cxnSp>
      <p:sp>
        <p:nvSpPr>
          <p:cNvPr id="13" name="ListLeanHorizontalTextTopic1"/>
          <p:cNvSpPr txBox="1">
            <a:spLocks/>
          </p:cNvSpPr>
          <p:nvPr/>
        </p:nvSpPr>
        <p:spPr>
          <a:xfrm>
            <a:off x="2096682" y="2007067"/>
            <a:ext cx="4709168" cy="308069"/>
          </a:xfrm>
          <a:prstGeom prst="rect">
            <a:avLst/>
          </a:prstGeom>
          <a:noFill/>
          <a:ln w="9525">
            <a:noFill/>
          </a:ln>
          <a:effectLst/>
        </p:spPr>
        <p:txBody>
          <a:bodyPr vert="horz" wrap="square" lIns="0" tIns="0" rIns="0" bIns="112367" rtlCol="0" anchor="b">
            <a:spAutoFit/>
          </a:bodyPr>
          <a:lstStyle/>
          <a:p>
            <a:pPr fontAlgn="base">
              <a:lnSpc>
                <a:spcPct val="90000"/>
              </a:lnSpc>
              <a:spcBef>
                <a:spcPts val="624"/>
              </a:spcBef>
              <a:spcAft>
                <a:spcPct val="0"/>
              </a:spcAft>
            </a:pPr>
            <a:r>
              <a:rPr lang="fr-FR" sz="1405" b="1" dirty="0">
                <a:solidFill>
                  <a:srgbClr val="000000"/>
                </a:solidFill>
                <a:latin typeface="Helvetica Rounded" pitchFamily="50" charset="0"/>
                <a:cs typeface="Arial Narrow" pitchFamily="34" charset="0"/>
              </a:rPr>
              <a:t>Rôle</a:t>
            </a:r>
          </a:p>
        </p:txBody>
      </p:sp>
      <p:sp>
        <p:nvSpPr>
          <p:cNvPr id="14" name="Rectangle 13"/>
          <p:cNvSpPr>
            <a:spLocks/>
          </p:cNvSpPr>
          <p:nvPr/>
        </p:nvSpPr>
        <p:spPr>
          <a:xfrm>
            <a:off x="289473" y="3888218"/>
            <a:ext cx="1774277" cy="1287295"/>
          </a:xfrm>
          <a:prstGeom prst="rect">
            <a:avLst/>
          </a:prstGeom>
          <a:solidFill>
            <a:srgbClr val="149AC2"/>
          </a:solidFill>
          <a:ln w="9525">
            <a:noFill/>
          </a:ln>
          <a:effectLst/>
        </p:spPr>
        <p:style>
          <a:lnRef idx="1">
            <a:schemeClr val="accent1"/>
          </a:lnRef>
          <a:fillRef idx="0">
            <a:schemeClr val="accent1"/>
          </a:fillRef>
          <a:effectRef idx="0">
            <a:schemeClr val="accent1"/>
          </a:effectRef>
          <a:fontRef idx="minor">
            <a:schemeClr val="tx1"/>
          </a:fontRef>
        </p:style>
        <p:txBody>
          <a:bodyPr lIns="56184" tIns="168551" rIns="56184" bIns="112367" rtlCol="0" anchor="ctr" anchorCtr="0">
            <a:noAutofit/>
          </a:bodyPr>
          <a:lstStyle/>
          <a:p>
            <a:pPr marL="0" lvl="1" algn="ctr">
              <a:lnSpc>
                <a:spcPct val="90000"/>
              </a:lnSpc>
              <a:spcBef>
                <a:spcPts val="468"/>
              </a:spcBef>
              <a:buSzPct val="100000"/>
            </a:pPr>
            <a:r>
              <a:rPr lang="fr-FR" sz="1405" kern="0" dirty="0">
                <a:solidFill>
                  <a:schemeClr val="bg1"/>
                </a:solidFill>
                <a:latin typeface="Helvetica Rounded" pitchFamily="50" charset="0"/>
                <a:sym typeface="+mn-lt"/>
              </a:rPr>
              <a:t>Agence de Développement du Digital</a:t>
            </a:r>
          </a:p>
        </p:txBody>
      </p:sp>
      <p:sp>
        <p:nvSpPr>
          <p:cNvPr id="15" name="TextBox 79"/>
          <p:cNvSpPr txBox="1">
            <a:spLocks/>
          </p:cNvSpPr>
          <p:nvPr/>
        </p:nvSpPr>
        <p:spPr>
          <a:xfrm>
            <a:off x="6714079" y="3871024"/>
            <a:ext cx="4943159" cy="1295868"/>
          </a:xfrm>
          <a:prstGeom prst="rect">
            <a:avLst/>
          </a:prstGeom>
          <a:noFill/>
          <a:ln w="9525">
            <a:noFill/>
          </a:ln>
          <a:effectLst/>
        </p:spPr>
        <p:txBody>
          <a:bodyPr vert="horz" wrap="square" lIns="0" tIns="0" rIns="0" bIns="0" rtlCol="0">
            <a:spAutoFit/>
          </a:bodyPr>
          <a:lstStyle/>
          <a:p>
            <a:pPr marL="153117" lvl="1" indent="-153117" algn="just">
              <a:lnSpc>
                <a:spcPct val="90000"/>
              </a:lnSpc>
              <a:spcBef>
                <a:spcPts val="468"/>
              </a:spcBef>
              <a:buSzPct val="100000"/>
              <a:buFont typeface="Arial Narrow" panose="020B0606020202030204" pitchFamily="34" charset="0"/>
              <a:buChar char="&gt;"/>
            </a:pPr>
            <a:r>
              <a:rPr lang="fr-FR" sz="1405" spc="-16" dirty="0">
                <a:solidFill>
                  <a:srgbClr val="000000"/>
                </a:solidFill>
                <a:latin typeface="Helvetica" pitchFamily="2" charset="0"/>
                <a:cs typeface="Arial" panose="020B0604020202020204" pitchFamily="34" charset="0"/>
              </a:rPr>
              <a:t>Mettre en œuvre, pour le compte de l’Etat, la stratégie digitale du Maroc</a:t>
            </a:r>
          </a:p>
          <a:p>
            <a:pPr marL="153117" lvl="1" indent="-153117" algn="just">
              <a:lnSpc>
                <a:spcPct val="90000"/>
              </a:lnSpc>
              <a:spcBef>
                <a:spcPts val="468"/>
              </a:spcBef>
              <a:buSzPct val="100000"/>
              <a:buFont typeface="Arial Narrow" panose="020B0606020202030204" pitchFamily="34" charset="0"/>
              <a:buChar char="&gt;"/>
            </a:pPr>
            <a:r>
              <a:rPr lang="fr-FR" sz="1405" spc="-16" dirty="0">
                <a:solidFill>
                  <a:srgbClr val="000000"/>
                </a:solidFill>
                <a:latin typeface="Helvetica" pitchFamily="2" charset="0"/>
                <a:cs typeface="Arial" panose="020B0604020202020204" pitchFamily="34" charset="0"/>
              </a:rPr>
              <a:t>Proposer au gouvernement les orientations générales à suivre en matière de développement du Digital</a:t>
            </a:r>
          </a:p>
          <a:p>
            <a:pPr marL="153117" lvl="1" indent="-153117" algn="just">
              <a:lnSpc>
                <a:spcPct val="90000"/>
              </a:lnSpc>
              <a:spcBef>
                <a:spcPts val="468"/>
              </a:spcBef>
              <a:buSzPct val="100000"/>
              <a:buFont typeface="Arial Narrow" panose="020B0606020202030204" pitchFamily="34" charset="0"/>
              <a:buChar char="&gt;"/>
            </a:pPr>
            <a:r>
              <a:rPr lang="fr-FR" sz="1405" spc="-16" dirty="0">
                <a:solidFill>
                  <a:srgbClr val="000000"/>
                </a:solidFill>
                <a:latin typeface="Helvetica" pitchFamily="2" charset="0"/>
                <a:cs typeface="Arial" panose="020B0604020202020204" pitchFamily="34" charset="0"/>
              </a:rPr>
              <a:t>Promouvoir la diffusion des outils numériques et le développement de leur usage auprès des citoyens</a:t>
            </a:r>
          </a:p>
        </p:txBody>
      </p:sp>
      <p:sp>
        <p:nvSpPr>
          <p:cNvPr id="16" name="TextBox 81"/>
          <p:cNvSpPr txBox="1">
            <a:spLocks/>
          </p:cNvSpPr>
          <p:nvPr/>
        </p:nvSpPr>
        <p:spPr>
          <a:xfrm>
            <a:off x="2096682" y="4490000"/>
            <a:ext cx="4406688" cy="216149"/>
          </a:xfrm>
          <a:prstGeom prst="rect">
            <a:avLst/>
          </a:prstGeom>
          <a:noFill/>
          <a:ln w="9525">
            <a:noFill/>
          </a:ln>
          <a:effectLst/>
        </p:spPr>
        <p:txBody>
          <a:bodyPr vert="horz" wrap="square" lIns="0" tIns="0" rIns="0" bIns="0" rtlCol="0">
            <a:spAutoFit/>
          </a:bodyPr>
          <a:lstStyle/>
          <a:p>
            <a:pPr marL="0" lvl="1" algn="ctr">
              <a:lnSpc>
                <a:spcPct val="90000"/>
              </a:lnSpc>
              <a:spcBef>
                <a:spcPts val="468"/>
              </a:spcBef>
              <a:buSzPct val="100000"/>
            </a:pPr>
            <a:r>
              <a:rPr lang="fr-FR" sz="1561" spc="-16" dirty="0">
                <a:solidFill>
                  <a:srgbClr val="000000"/>
                </a:solidFill>
                <a:latin typeface="Helvetica" pitchFamily="2" charset="0"/>
                <a:cs typeface="Arial" panose="020B0604020202020204" pitchFamily="34" charset="0"/>
                <a:sym typeface="+mn-lt"/>
              </a:rPr>
              <a:t>Agence d’exécution</a:t>
            </a:r>
          </a:p>
        </p:txBody>
      </p:sp>
      <p:cxnSp>
        <p:nvCxnSpPr>
          <p:cNvPr id="17" name="Straight Connector 72"/>
          <p:cNvCxnSpPr>
            <a:cxnSpLocks/>
          </p:cNvCxnSpPr>
          <p:nvPr/>
        </p:nvCxnSpPr>
        <p:spPr>
          <a:xfrm>
            <a:off x="207795" y="3805972"/>
            <a:ext cx="11573843" cy="0"/>
          </a:xfrm>
          <a:prstGeom prst="line">
            <a:avLst/>
          </a:prstGeom>
          <a:noFill/>
          <a:ln w="9525" cap="flat" cmpd="sng" algn="ctr">
            <a:solidFill>
              <a:srgbClr val="DEE0E3"/>
            </a:solidFill>
            <a:prstDash val="solid"/>
          </a:ln>
          <a:effectLst/>
        </p:spPr>
      </p:cxnSp>
      <p:sp>
        <p:nvSpPr>
          <p:cNvPr id="18" name="Rectangle 17"/>
          <p:cNvSpPr>
            <a:spLocks/>
          </p:cNvSpPr>
          <p:nvPr/>
        </p:nvSpPr>
        <p:spPr>
          <a:xfrm>
            <a:off x="289473" y="2435494"/>
            <a:ext cx="1774277" cy="1292225"/>
          </a:xfrm>
          <a:prstGeom prst="rect">
            <a:avLst/>
          </a:prstGeom>
          <a:solidFill>
            <a:srgbClr val="149AC2"/>
          </a:solidFill>
          <a:ln w="9525">
            <a:noFill/>
          </a:ln>
          <a:effectLst/>
        </p:spPr>
        <p:style>
          <a:lnRef idx="1">
            <a:schemeClr val="accent1"/>
          </a:lnRef>
          <a:fillRef idx="0">
            <a:schemeClr val="accent1"/>
          </a:fillRef>
          <a:effectRef idx="0">
            <a:schemeClr val="accent1"/>
          </a:effectRef>
          <a:fontRef idx="minor">
            <a:schemeClr val="tx1"/>
          </a:fontRef>
        </p:style>
        <p:txBody>
          <a:bodyPr lIns="56184" tIns="168551" rIns="56184" bIns="112367" rtlCol="0" anchor="ctr" anchorCtr="0">
            <a:noAutofit/>
          </a:bodyPr>
          <a:lstStyle/>
          <a:p>
            <a:pPr marL="0" lvl="1" algn="ctr">
              <a:lnSpc>
                <a:spcPct val="90000"/>
              </a:lnSpc>
              <a:spcBef>
                <a:spcPts val="468"/>
              </a:spcBef>
              <a:buSzPct val="100000"/>
            </a:pPr>
            <a:r>
              <a:rPr lang="fr-FR" sz="1405" kern="0" dirty="0">
                <a:solidFill>
                  <a:schemeClr val="bg1"/>
                </a:solidFill>
                <a:latin typeface="Helvetica Rounded" pitchFamily="50" charset="0"/>
                <a:sym typeface="+mn-lt"/>
              </a:rPr>
              <a:t>Ministère de l’Industrie, du Commerce et de l’Economie Verte et Numérique</a:t>
            </a:r>
          </a:p>
        </p:txBody>
      </p:sp>
      <p:sp>
        <p:nvSpPr>
          <p:cNvPr id="19" name="TextBox 79"/>
          <p:cNvSpPr txBox="1">
            <a:spLocks/>
          </p:cNvSpPr>
          <p:nvPr/>
        </p:nvSpPr>
        <p:spPr>
          <a:xfrm>
            <a:off x="6714079" y="2580403"/>
            <a:ext cx="4943159" cy="1037143"/>
          </a:xfrm>
          <a:prstGeom prst="rect">
            <a:avLst/>
          </a:prstGeom>
          <a:noFill/>
          <a:ln w="9525">
            <a:noFill/>
          </a:ln>
          <a:effectLst/>
        </p:spPr>
        <p:txBody>
          <a:bodyPr vert="horz" wrap="square" lIns="0" tIns="0" rIns="0" bIns="0" rtlCol="0">
            <a:spAutoFit/>
          </a:bodyPr>
          <a:lstStyle/>
          <a:p>
            <a:pPr marL="153117" lvl="1" indent="-153117" algn="just">
              <a:lnSpc>
                <a:spcPct val="90000"/>
              </a:lnSpc>
              <a:spcBef>
                <a:spcPts val="468"/>
              </a:spcBef>
              <a:buSzPct val="100000"/>
              <a:buFont typeface="Arial Narrow" panose="020B0606020202030204" pitchFamily="34" charset="0"/>
              <a:buChar char="&gt;"/>
            </a:pPr>
            <a:r>
              <a:rPr lang="fr-FR" sz="1405" spc="-16" dirty="0">
                <a:solidFill>
                  <a:srgbClr val="000000"/>
                </a:solidFill>
                <a:latin typeface="Helvetica" pitchFamily="2" charset="0"/>
                <a:cs typeface="Arial" panose="020B0604020202020204" pitchFamily="34" charset="0"/>
                <a:sym typeface="+mn-lt"/>
              </a:rPr>
              <a:t>Elaborer la stratégie nationale de développement de l’économie numérique et en assurer la mise en œuvre, le suivi, l’accompagnement et l’actualisation ;</a:t>
            </a:r>
          </a:p>
          <a:p>
            <a:pPr marL="153117" lvl="1" indent="-153117" algn="just">
              <a:lnSpc>
                <a:spcPct val="90000"/>
              </a:lnSpc>
              <a:spcBef>
                <a:spcPts val="468"/>
              </a:spcBef>
              <a:buSzPct val="100000"/>
              <a:buFont typeface="Arial Narrow" panose="020B0606020202030204" pitchFamily="34" charset="0"/>
              <a:buChar char="&gt;"/>
            </a:pPr>
            <a:r>
              <a:rPr lang="fr-FR" sz="1405" spc="-16" dirty="0">
                <a:solidFill>
                  <a:srgbClr val="000000"/>
                </a:solidFill>
                <a:latin typeface="Helvetica" pitchFamily="2" charset="0"/>
                <a:cs typeface="Arial" panose="020B0604020202020204" pitchFamily="34" charset="0"/>
                <a:sym typeface="+mn-lt"/>
              </a:rPr>
              <a:t>Elaborer le cadre législatif et réglementaire des activités de l’économie numérique, de la poste et des télécoms.</a:t>
            </a:r>
          </a:p>
        </p:txBody>
      </p:sp>
      <p:sp>
        <p:nvSpPr>
          <p:cNvPr id="20" name="TextBox 81"/>
          <p:cNvSpPr txBox="1">
            <a:spLocks/>
          </p:cNvSpPr>
          <p:nvPr/>
        </p:nvSpPr>
        <p:spPr>
          <a:xfrm>
            <a:off x="2096682" y="3010248"/>
            <a:ext cx="4406688" cy="216149"/>
          </a:xfrm>
          <a:prstGeom prst="rect">
            <a:avLst/>
          </a:prstGeom>
          <a:noFill/>
          <a:ln w="9525">
            <a:noFill/>
          </a:ln>
          <a:effectLst/>
        </p:spPr>
        <p:txBody>
          <a:bodyPr vert="horz" wrap="square" lIns="0" tIns="0" rIns="0" bIns="0" rtlCol="0">
            <a:spAutoFit/>
          </a:bodyPr>
          <a:lstStyle/>
          <a:p>
            <a:pPr marL="0" lvl="1" algn="ctr">
              <a:lnSpc>
                <a:spcPct val="90000"/>
              </a:lnSpc>
              <a:spcBef>
                <a:spcPts val="468"/>
              </a:spcBef>
              <a:buSzPct val="100000"/>
            </a:pPr>
            <a:r>
              <a:rPr lang="fr-FR" sz="1561" spc="-16" dirty="0">
                <a:solidFill>
                  <a:srgbClr val="000000"/>
                </a:solidFill>
                <a:latin typeface="Helvetica" pitchFamily="2" charset="0"/>
                <a:cs typeface="Arial" panose="020B0604020202020204" pitchFamily="34" charset="0"/>
              </a:rPr>
              <a:t>Ministère de tutelle</a:t>
            </a:r>
          </a:p>
        </p:txBody>
      </p:sp>
      <p:sp>
        <p:nvSpPr>
          <p:cNvPr id="4" name="Rectangle 3"/>
          <p:cNvSpPr/>
          <p:nvPr/>
        </p:nvSpPr>
        <p:spPr>
          <a:xfrm>
            <a:off x="289473" y="5535812"/>
            <a:ext cx="11492166" cy="620811"/>
          </a:xfrm>
          <a:prstGeom prst="rect">
            <a:avLst/>
          </a:prstGeom>
          <a:solidFill>
            <a:schemeClr val="accent1">
              <a:lumMod val="20000"/>
              <a:lumOff val="80000"/>
            </a:schemeClr>
          </a:solidFill>
        </p:spPr>
        <p:txBody>
          <a:bodyPr wrap="square">
            <a:spAutoFit/>
          </a:bodyPr>
          <a:lstStyle/>
          <a:p>
            <a:pPr algn="ctr"/>
            <a:r>
              <a:rPr lang="fr-FR" sz="1717" b="1" u="sng" dirty="0">
                <a:solidFill>
                  <a:srgbClr val="149AC2"/>
                </a:solidFill>
                <a:latin typeface="Helvetica" pitchFamily="2" charset="0"/>
              </a:rPr>
              <a:t>Objectif :</a:t>
            </a:r>
            <a:r>
              <a:rPr lang="fr-FR" sz="1717" b="1" dirty="0">
                <a:solidFill>
                  <a:srgbClr val="149AC2"/>
                </a:solidFill>
                <a:latin typeface="Helvetica" pitchFamily="2" charset="0"/>
              </a:rPr>
              <a:t> Asseoir un nouveau mode de gouvernance dans l’exécution des stratégies nationales pour le développement du digital</a:t>
            </a:r>
          </a:p>
        </p:txBody>
      </p:sp>
      <p:sp>
        <p:nvSpPr>
          <p:cNvPr id="21" name="Triangle isocèle 20"/>
          <p:cNvSpPr/>
          <p:nvPr/>
        </p:nvSpPr>
        <p:spPr>
          <a:xfrm flipV="1">
            <a:off x="289472" y="5295099"/>
            <a:ext cx="11420355" cy="173256"/>
          </a:xfrm>
          <a:prstGeom prst="triangle">
            <a:avLst/>
          </a:prstGeom>
          <a:solidFill>
            <a:srgbClr val="149A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809"/>
          </a:p>
        </p:txBody>
      </p:sp>
    </p:spTree>
    <p:extLst>
      <p:ext uri="{BB962C8B-B14F-4D97-AF65-F5344CB8AC3E}">
        <p14:creationId xmlns:p14="http://schemas.microsoft.com/office/powerpoint/2010/main" val="38378678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65194" y="443119"/>
            <a:ext cx="11461613" cy="449470"/>
          </a:xfrm>
        </p:spPr>
        <p:txBody>
          <a:bodyPr/>
          <a:lstStyle/>
          <a:p>
            <a:r>
              <a:rPr lang="fr-FR" dirty="0"/>
              <a:t>2. Feuille de route de l’ADD</a:t>
            </a:r>
          </a:p>
        </p:txBody>
      </p:sp>
      <p:grpSp>
        <p:nvGrpSpPr>
          <p:cNvPr id="43" name="Groupe 42"/>
          <p:cNvGrpSpPr/>
          <p:nvPr/>
        </p:nvGrpSpPr>
        <p:grpSpPr>
          <a:xfrm>
            <a:off x="650575" y="1888513"/>
            <a:ext cx="11284370" cy="3954428"/>
            <a:chOff x="585951" y="1544973"/>
            <a:chExt cx="8141703" cy="3514721"/>
          </a:xfrm>
          <a:solidFill>
            <a:srgbClr val="B5D0EE"/>
          </a:solidFill>
        </p:grpSpPr>
        <p:sp>
          <p:nvSpPr>
            <p:cNvPr id="23" name="Rectangle 22"/>
            <p:cNvSpPr/>
            <p:nvPr/>
          </p:nvSpPr>
          <p:spPr>
            <a:xfrm>
              <a:off x="4275790" y="1544973"/>
              <a:ext cx="4451864" cy="3171568"/>
            </a:xfrm>
            <a:prstGeom prst="rect">
              <a:avLst/>
            </a:prstGeom>
            <a:solidFill>
              <a:srgbClr val="149AC2"/>
            </a:solidFill>
            <a:ln>
              <a:solidFill>
                <a:srgbClr val="149AC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defTabSz="1179930">
                <a:buSzPct val="100000"/>
              </a:pPr>
              <a:endParaRPr lang="fr-FR" sz="2809" dirty="0">
                <a:solidFill>
                  <a:srgbClr val="000000"/>
                </a:solidFill>
                <a:latin typeface="Helvetica Rounded" pitchFamily="50" charset="0"/>
              </a:endParaRPr>
            </a:p>
            <a:p>
              <a:pPr algn="just" defTabSz="1179930">
                <a:buSzPct val="100000"/>
              </a:pPr>
              <a:endParaRPr lang="fr-FR" sz="2809" dirty="0">
                <a:solidFill>
                  <a:srgbClr val="000000"/>
                </a:solidFill>
                <a:latin typeface="Helvetica Rounded" pitchFamily="50" charset="0"/>
              </a:endParaRPr>
            </a:p>
            <a:p>
              <a:pPr algn="just" defTabSz="1179930">
                <a:buSzPct val="100000"/>
              </a:pPr>
              <a:endParaRPr lang="fr-FR" sz="2809" dirty="0">
                <a:solidFill>
                  <a:srgbClr val="000000"/>
                </a:solidFill>
                <a:latin typeface="Helvetica Rounded" pitchFamily="50" charset="0"/>
              </a:endParaRPr>
            </a:p>
            <a:p>
              <a:pPr defTabSz="491380">
                <a:buSzPct val="100000"/>
              </a:pPr>
              <a:r>
                <a:rPr lang="fr-FR" sz="1717" b="1" dirty="0">
                  <a:solidFill>
                    <a:schemeClr val="bg1"/>
                  </a:solidFill>
                  <a:latin typeface="Helvetica" pitchFamily="2" charset="0"/>
                  <a:cs typeface="Arial" charset="0"/>
                </a:rPr>
                <a:t>Transformation digitale de l’administration marocaine :</a:t>
              </a:r>
            </a:p>
            <a:p>
              <a:pPr marL="758151" lvl="1" indent="-215553" defTabSz="491380">
                <a:buSzPct val="100000"/>
                <a:buFont typeface="Police système"/>
                <a:buChar char="&gt;"/>
              </a:pPr>
              <a:r>
                <a:rPr lang="fr-FR" sz="1717" b="1" dirty="0">
                  <a:solidFill>
                    <a:schemeClr val="bg1"/>
                  </a:solidFill>
                  <a:latin typeface="Helvetica" pitchFamily="2" charset="0"/>
                  <a:cs typeface="Arial" charset="0"/>
                </a:rPr>
                <a:t>Digitalisation end-to-end des parcours de services publics citoyens et entreprises avec la mise en place d’un portail unique d’accès</a:t>
              </a:r>
            </a:p>
            <a:p>
              <a:pPr marL="758151" lvl="1" indent="-215553" defTabSz="491380">
                <a:buSzPct val="100000"/>
                <a:buFont typeface="Police système"/>
                <a:buChar char="&gt;"/>
              </a:pPr>
              <a:r>
                <a:rPr lang="fr-FR" sz="1717" b="1" dirty="0">
                  <a:solidFill>
                    <a:schemeClr val="bg1"/>
                  </a:solidFill>
                  <a:latin typeface="Helvetica" pitchFamily="2" charset="0"/>
                  <a:cs typeface="Arial" charset="0"/>
                </a:rPr>
                <a:t>Opérationnalisation de la plateforme interopérable de l’administration </a:t>
              </a:r>
            </a:p>
            <a:p>
              <a:pPr marL="758151" lvl="1" indent="-215553" defTabSz="491380">
                <a:buSzPct val="100000"/>
                <a:buFont typeface="Police système"/>
                <a:buChar char="&gt;"/>
              </a:pPr>
              <a:r>
                <a:rPr lang="fr-FR" sz="1717" b="1" dirty="0">
                  <a:solidFill>
                    <a:schemeClr val="bg1"/>
                  </a:solidFill>
                  <a:latin typeface="Helvetica" pitchFamily="2" charset="0"/>
                  <a:cs typeface="Arial" charset="0"/>
                </a:rPr>
                <a:t>Création d’un laboratoire d’innovations pour la transformation de l’administration</a:t>
              </a:r>
            </a:p>
            <a:p>
              <a:pPr algn="ctr"/>
              <a:endParaRPr lang="fr-FR" sz="2809" dirty="0">
                <a:latin typeface="Helvetica" pitchFamily="2" charset="0"/>
              </a:endParaRPr>
            </a:p>
          </p:txBody>
        </p:sp>
        <p:sp>
          <p:nvSpPr>
            <p:cNvPr id="24" name="Freeform 3"/>
            <p:cNvSpPr>
              <a:spLocks/>
            </p:cNvSpPr>
            <p:nvPr>
              <p:custDataLst>
                <p:tags r:id="rId1"/>
              </p:custDataLst>
            </p:nvPr>
          </p:nvSpPr>
          <p:spPr bwMode="auto">
            <a:xfrm>
              <a:off x="1602926" y="1658429"/>
              <a:ext cx="1688123" cy="1559706"/>
            </a:xfrm>
            <a:custGeom>
              <a:avLst/>
              <a:gdLst/>
              <a:ahLst/>
              <a:cxnLst>
                <a:cxn ang="0">
                  <a:pos x="1152" y="984"/>
                </a:cxn>
                <a:cxn ang="0">
                  <a:pos x="569" y="0"/>
                </a:cxn>
                <a:cxn ang="0">
                  <a:pos x="0" y="985"/>
                </a:cxn>
              </a:cxnLst>
              <a:rect l="0" t="0" r="r" b="b"/>
              <a:pathLst>
                <a:path w="1152" h="985">
                  <a:moveTo>
                    <a:pt x="1152" y="984"/>
                  </a:moveTo>
                  <a:lnTo>
                    <a:pt x="569" y="0"/>
                  </a:lnTo>
                  <a:lnTo>
                    <a:pt x="0" y="985"/>
                  </a:lnTo>
                </a:path>
              </a:pathLst>
            </a:custGeom>
            <a:solidFill>
              <a:srgbClr val="149AC2"/>
            </a:solidFill>
            <a:ln w="22225" cap="flat" cmpd="sng">
              <a:solidFill>
                <a:srgbClr val="149AC2"/>
              </a:solidFill>
              <a:prstDash val="solid"/>
              <a:round/>
              <a:headEnd/>
              <a:tailEnd/>
            </a:ln>
            <a:effectLst/>
          </p:spPr>
          <p:txBody>
            <a:bodyPr wrap="none" lIns="0" tIns="0" rIns="0" bIns="0" anchor="ctr"/>
            <a:lstStyle/>
            <a:p>
              <a:endParaRPr lang="fr-FR" sz="1717" dirty="0">
                <a:solidFill>
                  <a:schemeClr val="bg1"/>
                </a:solidFill>
                <a:latin typeface="Helvetica" pitchFamily="2" charset="0"/>
              </a:endParaRPr>
            </a:p>
          </p:txBody>
        </p:sp>
        <p:sp>
          <p:nvSpPr>
            <p:cNvPr id="25" name="Text12"/>
            <p:cNvSpPr>
              <a:spLocks noChangeArrowheads="1"/>
            </p:cNvSpPr>
            <p:nvPr>
              <p:custDataLst>
                <p:tags r:id="rId2"/>
              </p:custDataLst>
            </p:nvPr>
          </p:nvSpPr>
          <p:spPr bwMode="auto">
            <a:xfrm>
              <a:off x="1892803" y="2766438"/>
              <a:ext cx="1108367" cy="341714"/>
            </a:xfrm>
            <a:prstGeom prst="rect">
              <a:avLst/>
            </a:prstGeom>
            <a:solidFill>
              <a:srgbClr val="149AC2"/>
            </a:solidFill>
            <a:ln w="6350">
              <a:solidFill>
                <a:srgbClr val="149AC2"/>
              </a:solidFill>
              <a:miter lim="800000"/>
              <a:headEnd/>
              <a:tailEnd/>
            </a:ln>
            <a:effectLst/>
          </p:spPr>
          <p:txBody>
            <a:bodyPr wrap="square" lIns="0" tIns="0" rIns="0" bIns="0" anchor="ctr" anchorCtr="1">
              <a:spAutoFit/>
            </a:bodyPr>
            <a:lstStyle/>
            <a:p>
              <a:pPr algn="ctr" defTabSz="491380"/>
              <a:r>
                <a:rPr lang="fr-FR" altLang="de-DE" sz="1249" b="1" cap="all" dirty="0">
                  <a:solidFill>
                    <a:schemeClr val="bg1"/>
                  </a:solidFill>
                  <a:latin typeface="Helvetica" pitchFamily="2" charset="0"/>
                </a:rPr>
                <a:t>Smart Gouvernement</a:t>
              </a:r>
            </a:p>
          </p:txBody>
        </p:sp>
        <p:sp>
          <p:nvSpPr>
            <p:cNvPr id="26" name="Freeform 5"/>
            <p:cNvSpPr>
              <a:spLocks/>
            </p:cNvSpPr>
            <p:nvPr>
              <p:custDataLst>
                <p:tags r:id="rId3"/>
              </p:custDataLst>
            </p:nvPr>
          </p:nvSpPr>
          <p:spPr bwMode="auto">
            <a:xfrm>
              <a:off x="2627567" y="3510369"/>
              <a:ext cx="1680797" cy="1534371"/>
            </a:xfrm>
            <a:custGeom>
              <a:avLst/>
              <a:gdLst/>
              <a:ahLst/>
              <a:cxnLst>
                <a:cxn ang="0">
                  <a:pos x="573" y="0"/>
                </a:cxn>
                <a:cxn ang="0">
                  <a:pos x="1147" y="969"/>
                </a:cxn>
                <a:cxn ang="0">
                  <a:pos x="0" y="969"/>
                </a:cxn>
              </a:cxnLst>
              <a:rect l="0" t="0" r="r" b="b"/>
              <a:pathLst>
                <a:path w="1147" h="969">
                  <a:moveTo>
                    <a:pt x="573" y="0"/>
                  </a:moveTo>
                  <a:lnTo>
                    <a:pt x="1147" y="969"/>
                  </a:lnTo>
                  <a:lnTo>
                    <a:pt x="0" y="969"/>
                  </a:lnTo>
                </a:path>
              </a:pathLst>
            </a:custGeom>
            <a:solidFill>
              <a:srgbClr val="149AC2"/>
            </a:solidFill>
            <a:ln w="22225" cap="flat" cmpd="sng">
              <a:solidFill>
                <a:srgbClr val="149AC2"/>
              </a:solidFill>
              <a:prstDash val="solid"/>
              <a:round/>
              <a:headEnd/>
              <a:tailEnd/>
            </a:ln>
            <a:effectLst/>
          </p:spPr>
          <p:txBody>
            <a:bodyPr wrap="none" lIns="0" tIns="0" rIns="0" bIns="0" anchor="ctr"/>
            <a:lstStyle/>
            <a:p>
              <a:endParaRPr lang="fr-FR" sz="1717" dirty="0">
                <a:solidFill>
                  <a:schemeClr val="bg1"/>
                </a:solidFill>
                <a:latin typeface="Helvetica" pitchFamily="2" charset="0"/>
              </a:endParaRPr>
            </a:p>
          </p:txBody>
        </p:sp>
        <p:sp>
          <p:nvSpPr>
            <p:cNvPr id="27" name="Text12"/>
            <p:cNvSpPr>
              <a:spLocks noChangeArrowheads="1"/>
            </p:cNvSpPr>
            <p:nvPr>
              <p:custDataLst>
                <p:tags r:id="rId4"/>
              </p:custDataLst>
            </p:nvPr>
          </p:nvSpPr>
          <p:spPr bwMode="auto">
            <a:xfrm>
              <a:off x="3001169" y="4442662"/>
              <a:ext cx="970306" cy="512571"/>
            </a:xfrm>
            <a:prstGeom prst="rect">
              <a:avLst/>
            </a:prstGeom>
            <a:solidFill>
              <a:srgbClr val="149AC2"/>
            </a:solidFill>
            <a:ln w="6350">
              <a:solidFill>
                <a:srgbClr val="149AC2"/>
              </a:solidFill>
              <a:miter lim="800000"/>
              <a:headEnd/>
              <a:tailEnd/>
            </a:ln>
            <a:effectLst/>
          </p:spPr>
          <p:txBody>
            <a:bodyPr wrap="square" lIns="0" tIns="0" rIns="0" bIns="0" anchor="ctr" anchorCtr="1">
              <a:spAutoFit/>
            </a:bodyPr>
            <a:lstStyle/>
            <a:p>
              <a:pPr algn="ctr" defTabSz="491380"/>
              <a:r>
                <a:rPr lang="fr-FR" sz="1249" b="1" cap="all" dirty="0">
                  <a:solidFill>
                    <a:schemeClr val="bg1"/>
                  </a:solidFill>
                  <a:latin typeface="Helvetica" pitchFamily="2" charset="0"/>
                </a:rPr>
                <a:t>Ecosystème digital et innovation</a:t>
              </a:r>
            </a:p>
          </p:txBody>
        </p:sp>
        <p:sp>
          <p:nvSpPr>
            <p:cNvPr id="28" name="Freeform 7"/>
            <p:cNvSpPr>
              <a:spLocks/>
            </p:cNvSpPr>
            <p:nvPr>
              <p:custDataLst>
                <p:tags r:id="rId5"/>
              </p:custDataLst>
            </p:nvPr>
          </p:nvSpPr>
          <p:spPr bwMode="auto">
            <a:xfrm>
              <a:off x="585951" y="3525323"/>
              <a:ext cx="1677865" cy="1534371"/>
            </a:xfrm>
            <a:custGeom>
              <a:avLst/>
              <a:gdLst/>
              <a:ahLst/>
              <a:cxnLst>
                <a:cxn ang="0">
                  <a:pos x="1145" y="969"/>
                </a:cxn>
                <a:cxn ang="0">
                  <a:pos x="0" y="969"/>
                </a:cxn>
                <a:cxn ang="0">
                  <a:pos x="574" y="0"/>
                </a:cxn>
              </a:cxnLst>
              <a:rect l="0" t="0" r="r" b="b"/>
              <a:pathLst>
                <a:path w="1145" h="969">
                  <a:moveTo>
                    <a:pt x="1145" y="969"/>
                  </a:moveTo>
                  <a:lnTo>
                    <a:pt x="0" y="969"/>
                  </a:lnTo>
                  <a:lnTo>
                    <a:pt x="574" y="0"/>
                  </a:lnTo>
                </a:path>
              </a:pathLst>
            </a:custGeom>
            <a:solidFill>
              <a:srgbClr val="149AC2"/>
            </a:solidFill>
            <a:ln w="22225" cap="flat" cmpd="sng">
              <a:solidFill>
                <a:srgbClr val="149AC2"/>
              </a:solidFill>
              <a:prstDash val="solid"/>
              <a:round/>
              <a:headEnd/>
              <a:tailEnd/>
            </a:ln>
            <a:effectLst/>
          </p:spPr>
          <p:txBody>
            <a:bodyPr wrap="none" lIns="0" tIns="0" rIns="0" bIns="0" anchor="ctr"/>
            <a:lstStyle/>
            <a:p>
              <a:endParaRPr lang="fr-FR" sz="1717" dirty="0">
                <a:solidFill>
                  <a:schemeClr val="bg1"/>
                </a:solidFill>
                <a:latin typeface="Helvetica" pitchFamily="2" charset="0"/>
              </a:endParaRPr>
            </a:p>
          </p:txBody>
        </p:sp>
        <p:sp>
          <p:nvSpPr>
            <p:cNvPr id="29" name="Text12"/>
            <p:cNvSpPr>
              <a:spLocks noChangeArrowheads="1"/>
            </p:cNvSpPr>
            <p:nvPr>
              <p:custDataLst>
                <p:tags r:id="rId6"/>
              </p:custDataLst>
            </p:nvPr>
          </p:nvSpPr>
          <p:spPr bwMode="auto">
            <a:xfrm>
              <a:off x="986323" y="4354192"/>
              <a:ext cx="891371" cy="683428"/>
            </a:xfrm>
            <a:prstGeom prst="rect">
              <a:avLst/>
            </a:prstGeom>
            <a:solidFill>
              <a:srgbClr val="149AC2"/>
            </a:solidFill>
            <a:ln w="6350">
              <a:solidFill>
                <a:srgbClr val="149AC2"/>
              </a:solidFill>
              <a:miter lim="800000"/>
              <a:headEnd/>
              <a:tailEnd/>
            </a:ln>
            <a:effectLst/>
          </p:spPr>
          <p:txBody>
            <a:bodyPr wrap="square" lIns="0" tIns="0" rIns="0" bIns="0" anchor="ctr" anchorCtr="1">
              <a:spAutoFit/>
            </a:bodyPr>
            <a:lstStyle/>
            <a:p>
              <a:pPr algn="ctr" defTabSz="491380"/>
              <a:r>
                <a:rPr lang="fr-FR" altLang="de-DE" sz="1249" b="1" cap="all" dirty="0">
                  <a:solidFill>
                    <a:schemeClr val="bg1"/>
                  </a:solidFill>
                  <a:latin typeface="Helvetica" pitchFamily="2" charset="0"/>
                </a:rPr>
                <a:t>Inclusion digitale et développement humain</a:t>
              </a:r>
            </a:p>
          </p:txBody>
        </p:sp>
        <p:sp>
          <p:nvSpPr>
            <p:cNvPr id="30" name="AutoShape 9"/>
            <p:cNvSpPr>
              <a:spLocks noChangeArrowheads="1"/>
            </p:cNvSpPr>
            <p:nvPr>
              <p:custDataLst>
                <p:tags r:id="rId7"/>
              </p:custDataLst>
            </p:nvPr>
          </p:nvSpPr>
          <p:spPr bwMode="auto">
            <a:xfrm flipV="1">
              <a:off x="1563363" y="3406561"/>
              <a:ext cx="1735015" cy="1596126"/>
            </a:xfrm>
            <a:prstGeom prst="triangle">
              <a:avLst>
                <a:gd name="adj" fmla="val 50000"/>
              </a:avLst>
            </a:prstGeom>
            <a:solidFill>
              <a:srgbClr val="149AC2"/>
            </a:solidFill>
            <a:ln w="9525">
              <a:solidFill>
                <a:srgbClr val="149AC2"/>
              </a:solidFill>
              <a:miter lim="800000"/>
              <a:headEnd/>
              <a:tailEnd/>
            </a:ln>
            <a:effectLst/>
          </p:spPr>
          <p:txBody>
            <a:bodyPr wrap="none" lIns="0" tIns="0" rIns="0" bIns="0" anchor="ctr"/>
            <a:lstStyle/>
            <a:p>
              <a:endParaRPr lang="fr-FR" sz="1717" dirty="0">
                <a:solidFill>
                  <a:schemeClr val="bg1"/>
                </a:solidFill>
                <a:latin typeface="Helvetica" pitchFamily="2" charset="0"/>
              </a:endParaRPr>
            </a:p>
          </p:txBody>
        </p:sp>
        <p:sp>
          <p:nvSpPr>
            <p:cNvPr id="32" name="Rectangle 11"/>
            <p:cNvSpPr>
              <a:spLocks noChangeArrowheads="1"/>
            </p:cNvSpPr>
            <p:nvPr>
              <p:custDataLst>
                <p:tags r:id="rId8"/>
              </p:custDataLst>
            </p:nvPr>
          </p:nvSpPr>
          <p:spPr bwMode="auto">
            <a:xfrm>
              <a:off x="2338554" y="2331393"/>
              <a:ext cx="216877" cy="234352"/>
            </a:xfrm>
            <a:prstGeom prst="rect">
              <a:avLst/>
            </a:prstGeom>
            <a:solidFill>
              <a:srgbClr val="149AC2"/>
            </a:solidFill>
            <a:ln w="9525">
              <a:solidFill>
                <a:srgbClr val="149AC2"/>
              </a:solidFill>
              <a:miter lim="800000"/>
              <a:headEnd/>
              <a:tailEnd/>
            </a:ln>
            <a:effectLst/>
          </p:spPr>
          <p:txBody>
            <a:bodyPr wrap="none" lIns="0" tIns="0" rIns="0" bIns="0" anchor="ctr"/>
            <a:lstStyle/>
            <a:p>
              <a:pPr algn="ctr" eaLnBrk="0" hangingPunct="0"/>
              <a:r>
                <a:rPr kumimoji="1" lang="en-US" sz="1873" b="1" dirty="0">
                  <a:solidFill>
                    <a:schemeClr val="bg1"/>
                  </a:solidFill>
                  <a:latin typeface="Helvetica" pitchFamily="2" charset="0"/>
                </a:rPr>
                <a:t>1</a:t>
              </a:r>
            </a:p>
          </p:txBody>
        </p:sp>
        <p:sp>
          <p:nvSpPr>
            <p:cNvPr id="33" name="Rectangle 12"/>
            <p:cNvSpPr>
              <a:spLocks noChangeArrowheads="1"/>
            </p:cNvSpPr>
            <p:nvPr>
              <p:custDataLst>
                <p:tags r:id="rId9"/>
              </p:custDataLst>
            </p:nvPr>
          </p:nvSpPr>
          <p:spPr bwMode="auto">
            <a:xfrm>
              <a:off x="3344540" y="4042374"/>
              <a:ext cx="216877" cy="234352"/>
            </a:xfrm>
            <a:prstGeom prst="rect">
              <a:avLst/>
            </a:prstGeom>
            <a:solidFill>
              <a:srgbClr val="149AC2"/>
            </a:solidFill>
            <a:ln w="9525">
              <a:solidFill>
                <a:srgbClr val="149AC2"/>
              </a:solidFill>
              <a:miter lim="800000"/>
              <a:headEnd/>
              <a:tailEnd/>
            </a:ln>
            <a:effectLst/>
          </p:spPr>
          <p:txBody>
            <a:bodyPr wrap="none" lIns="0" tIns="0" rIns="0" bIns="0" anchor="ctr"/>
            <a:lstStyle/>
            <a:p>
              <a:pPr algn="ctr" eaLnBrk="0" hangingPunct="0"/>
              <a:r>
                <a:rPr kumimoji="1" lang="en-US" sz="1873" b="1" dirty="0">
                  <a:solidFill>
                    <a:schemeClr val="bg1"/>
                  </a:solidFill>
                  <a:latin typeface="Helvetica" pitchFamily="2" charset="0"/>
                </a:rPr>
                <a:t>2</a:t>
              </a:r>
            </a:p>
          </p:txBody>
        </p:sp>
        <p:sp>
          <p:nvSpPr>
            <p:cNvPr id="34" name="Rectangle 13"/>
            <p:cNvSpPr>
              <a:spLocks noChangeArrowheads="1"/>
            </p:cNvSpPr>
            <p:nvPr>
              <p:custDataLst>
                <p:tags r:id="rId10"/>
              </p:custDataLst>
            </p:nvPr>
          </p:nvSpPr>
          <p:spPr bwMode="auto">
            <a:xfrm>
              <a:off x="1316444" y="3970271"/>
              <a:ext cx="216877" cy="234352"/>
            </a:xfrm>
            <a:prstGeom prst="rect">
              <a:avLst/>
            </a:prstGeom>
            <a:solidFill>
              <a:srgbClr val="149AC2"/>
            </a:solidFill>
            <a:ln w="9525">
              <a:solidFill>
                <a:srgbClr val="149AC2"/>
              </a:solidFill>
              <a:miter lim="800000"/>
              <a:headEnd/>
              <a:tailEnd/>
            </a:ln>
            <a:effectLst/>
          </p:spPr>
          <p:txBody>
            <a:bodyPr wrap="none" lIns="0" tIns="0" rIns="0" bIns="0" anchor="ctr"/>
            <a:lstStyle/>
            <a:p>
              <a:pPr algn="ctr" eaLnBrk="0" hangingPunct="0"/>
              <a:r>
                <a:rPr kumimoji="1" lang="en-US" sz="1873" b="1" dirty="0">
                  <a:solidFill>
                    <a:schemeClr val="bg1"/>
                  </a:solidFill>
                  <a:latin typeface="Helvetica" pitchFamily="2" charset="0"/>
                </a:rPr>
                <a:t>3</a:t>
              </a:r>
            </a:p>
          </p:txBody>
        </p:sp>
        <p:sp>
          <p:nvSpPr>
            <p:cNvPr id="35" name="Rectangle 16"/>
            <p:cNvSpPr>
              <a:spLocks noChangeArrowheads="1"/>
            </p:cNvSpPr>
            <p:nvPr/>
          </p:nvSpPr>
          <p:spPr bwMode="auto">
            <a:xfrm>
              <a:off x="4479840" y="1682692"/>
              <a:ext cx="216877" cy="234352"/>
            </a:xfrm>
            <a:prstGeom prst="rect">
              <a:avLst/>
            </a:prstGeom>
            <a:solidFill>
              <a:srgbClr val="149AC2"/>
            </a:solidFill>
            <a:ln w="9525">
              <a:solidFill>
                <a:srgbClr val="149AC2"/>
              </a:solidFill>
              <a:miter lim="800000"/>
              <a:headEnd/>
              <a:tailEnd/>
            </a:ln>
            <a:effectLst/>
          </p:spPr>
          <p:txBody>
            <a:bodyPr wrap="none" lIns="0" tIns="0" rIns="0" bIns="0" anchor="ctr"/>
            <a:lstStyle/>
            <a:p>
              <a:pPr algn="ctr" eaLnBrk="0" hangingPunct="0"/>
              <a:r>
                <a:rPr kumimoji="1" lang="en-US" sz="1873" b="1" dirty="0">
                  <a:solidFill>
                    <a:schemeClr val="bg1"/>
                  </a:solidFill>
                  <a:latin typeface="Helvetica" pitchFamily="2" charset="0"/>
                </a:rPr>
                <a:t>1</a:t>
              </a:r>
            </a:p>
          </p:txBody>
        </p:sp>
        <p:sp>
          <p:nvSpPr>
            <p:cNvPr id="36" name="Text12"/>
            <p:cNvSpPr>
              <a:spLocks noChangeArrowheads="1"/>
            </p:cNvSpPr>
            <p:nvPr/>
          </p:nvSpPr>
          <p:spPr bwMode="auto">
            <a:xfrm>
              <a:off x="4797680" y="1714231"/>
              <a:ext cx="3119804" cy="234858"/>
            </a:xfrm>
            <a:prstGeom prst="rect">
              <a:avLst/>
            </a:prstGeom>
            <a:solidFill>
              <a:srgbClr val="149AC2"/>
            </a:solidFill>
            <a:ln w="6350">
              <a:solidFill>
                <a:srgbClr val="149AC2"/>
              </a:solidFill>
              <a:miter lim="800000"/>
              <a:headEnd/>
              <a:tailEnd/>
            </a:ln>
            <a:effectLst/>
          </p:spPr>
          <p:txBody>
            <a:bodyPr lIns="0" tIns="0" rIns="0" bIns="0" anchor="ctr">
              <a:spAutoFit/>
            </a:bodyPr>
            <a:lstStyle/>
            <a:p>
              <a:pPr defTabSz="491380"/>
              <a:r>
                <a:rPr lang="fr-FR" altLang="de-DE" sz="1717" b="1" cap="all" dirty="0">
                  <a:solidFill>
                    <a:schemeClr val="bg1"/>
                  </a:solidFill>
                  <a:latin typeface="Helvetica" pitchFamily="2" charset="0"/>
                </a:rPr>
                <a:t>Smart Gouvernement</a:t>
              </a:r>
            </a:p>
          </p:txBody>
        </p:sp>
      </p:grpSp>
      <p:grpSp>
        <p:nvGrpSpPr>
          <p:cNvPr id="48" name="Groupe 47">
            <a:extLst>
              <a:ext uri="{FF2B5EF4-FFF2-40B4-BE49-F238E27FC236}">
                <a16:creationId xmlns:a16="http://schemas.microsoft.com/office/drawing/2014/main" id="{A966DC47-D6FE-4244-8D5D-8FCD0ACA10C9}"/>
              </a:ext>
            </a:extLst>
          </p:cNvPr>
          <p:cNvGrpSpPr/>
          <p:nvPr/>
        </p:nvGrpSpPr>
        <p:grpSpPr>
          <a:xfrm>
            <a:off x="589982" y="6036781"/>
            <a:ext cx="11370748" cy="615666"/>
            <a:chOff x="2938680" y="5580877"/>
            <a:chExt cx="5347919" cy="458440"/>
          </a:xfrm>
          <a:solidFill>
            <a:srgbClr val="B5D0EE"/>
          </a:solidFill>
        </p:grpSpPr>
        <p:cxnSp>
          <p:nvCxnSpPr>
            <p:cNvPr id="50" name="Straight Connector 53">
              <a:extLst>
                <a:ext uri="{FF2B5EF4-FFF2-40B4-BE49-F238E27FC236}">
                  <a16:creationId xmlns:a16="http://schemas.microsoft.com/office/drawing/2014/main" id="{0B61E0B7-B616-7444-B32F-E06E691EF0C4}"/>
                </a:ext>
              </a:extLst>
            </p:cNvPr>
            <p:cNvCxnSpPr/>
            <p:nvPr/>
          </p:nvCxnSpPr>
          <p:spPr>
            <a:xfrm>
              <a:off x="2948858" y="5580877"/>
              <a:ext cx="5337741" cy="0"/>
            </a:xfrm>
            <a:prstGeom prst="line">
              <a:avLst/>
            </a:prstGeom>
            <a:grpFill/>
            <a:ln w="9525" cap="flat" cmpd="sng" algn="ctr">
              <a:solidFill>
                <a:srgbClr val="8D9399"/>
              </a:solidFill>
              <a:prstDash val="solid"/>
            </a:ln>
            <a:effectLst/>
          </p:spPr>
        </p:cxnSp>
        <p:sp>
          <p:nvSpPr>
            <p:cNvPr id="51" name="Freeform 26">
              <a:extLst>
                <a:ext uri="{FF2B5EF4-FFF2-40B4-BE49-F238E27FC236}">
                  <a16:creationId xmlns:a16="http://schemas.microsoft.com/office/drawing/2014/main" id="{4C78C612-51F8-A046-A1DF-F4E06A94B72D}"/>
                </a:ext>
              </a:extLst>
            </p:cNvPr>
            <p:cNvSpPr>
              <a:spLocks/>
            </p:cNvSpPr>
            <p:nvPr/>
          </p:nvSpPr>
          <p:spPr>
            <a:xfrm>
              <a:off x="4300930" y="5662795"/>
              <a:ext cx="1250156" cy="376522"/>
            </a:xfrm>
            <a:prstGeom prst="round2DiagRect">
              <a:avLst/>
            </a:prstGeom>
            <a:grpFill/>
            <a:ln w="9525" cap="flat" cmpd="sng" algn="ctr">
              <a:noFill/>
              <a:prstDash val="solid"/>
            </a:ln>
            <a:effectLst/>
          </p:spPr>
          <p:txBody>
            <a:bodyPr rtlCol="0" anchor="ctr">
              <a:noAutofit/>
            </a:bodyPr>
            <a:lstStyle/>
            <a:p>
              <a:pPr algn="ctr" defTabSz="1179930">
                <a:defRPr/>
              </a:pPr>
              <a:r>
                <a:rPr lang="fr-FR" sz="1405" b="1" kern="0" dirty="0">
                  <a:solidFill>
                    <a:srgbClr val="149AC2"/>
                  </a:solidFill>
                  <a:latin typeface="Clan Pro Book" panose="020B0604020101020102" pitchFamily="34" charset="77"/>
                </a:rPr>
                <a:t>Pilier 2 : </a:t>
              </a:r>
              <a:r>
                <a:rPr lang="fr-FR" sz="1405" b="1" kern="0" dirty="0">
                  <a:solidFill>
                    <a:srgbClr val="FFFFFF"/>
                  </a:solidFill>
                  <a:latin typeface="Clan Pro Book" panose="020B0604020101020102" pitchFamily="34" charset="77"/>
                </a:rPr>
                <a:t>Génération digitale (Formation) </a:t>
              </a:r>
            </a:p>
          </p:txBody>
        </p:sp>
        <p:sp>
          <p:nvSpPr>
            <p:cNvPr id="52" name="Freeform 28">
              <a:extLst>
                <a:ext uri="{FF2B5EF4-FFF2-40B4-BE49-F238E27FC236}">
                  <a16:creationId xmlns:a16="http://schemas.microsoft.com/office/drawing/2014/main" id="{B3BA1211-792C-8E45-B068-9A13D970915D}"/>
                </a:ext>
              </a:extLst>
            </p:cNvPr>
            <p:cNvSpPr>
              <a:spLocks/>
            </p:cNvSpPr>
            <p:nvPr/>
          </p:nvSpPr>
          <p:spPr>
            <a:xfrm>
              <a:off x="2938680" y="5662795"/>
              <a:ext cx="1250156" cy="376522"/>
            </a:xfrm>
            <a:prstGeom prst="round2DiagRect">
              <a:avLst/>
            </a:prstGeom>
            <a:grpFill/>
            <a:ln w="9525" cap="flat" cmpd="sng" algn="ctr">
              <a:noFill/>
              <a:prstDash val="solid"/>
            </a:ln>
            <a:effectLst/>
          </p:spPr>
          <p:txBody>
            <a:bodyPr rtlCol="0" anchor="ctr">
              <a:noAutofit/>
            </a:bodyPr>
            <a:lstStyle/>
            <a:p>
              <a:pPr algn="ctr" defTabSz="1179930">
                <a:defRPr/>
              </a:pPr>
              <a:r>
                <a:rPr lang="fr-FR" sz="1405" b="1" kern="0" dirty="0">
                  <a:solidFill>
                    <a:srgbClr val="149AC2"/>
                  </a:solidFill>
                  <a:latin typeface="Clan Pro Book" panose="020B0604020101020102" pitchFamily="34" charset="77"/>
                </a:rPr>
                <a:t>Pilier 1 : </a:t>
              </a:r>
            </a:p>
            <a:p>
              <a:pPr algn="ctr" defTabSz="1179930">
                <a:defRPr/>
              </a:pPr>
              <a:r>
                <a:rPr lang="fr-FR" sz="1405" b="1" kern="0" dirty="0">
                  <a:solidFill>
                    <a:srgbClr val="FFFFFF"/>
                  </a:solidFill>
                  <a:latin typeface="Clan Pro Book" panose="020B0604020101020102" pitchFamily="34" charset="77"/>
                </a:rPr>
                <a:t>Réglementation</a:t>
              </a:r>
            </a:p>
          </p:txBody>
        </p:sp>
        <p:sp>
          <p:nvSpPr>
            <p:cNvPr id="53" name="Freeform 32">
              <a:extLst>
                <a:ext uri="{FF2B5EF4-FFF2-40B4-BE49-F238E27FC236}">
                  <a16:creationId xmlns:a16="http://schemas.microsoft.com/office/drawing/2014/main" id="{0A054B15-2F06-BD4B-A64D-13C87843BA0A}"/>
                </a:ext>
              </a:extLst>
            </p:cNvPr>
            <p:cNvSpPr>
              <a:spLocks/>
            </p:cNvSpPr>
            <p:nvPr/>
          </p:nvSpPr>
          <p:spPr>
            <a:xfrm>
              <a:off x="7025430" y="5662795"/>
              <a:ext cx="1250156" cy="376522"/>
            </a:xfrm>
            <a:prstGeom prst="round2DiagRect">
              <a:avLst/>
            </a:prstGeom>
            <a:grpFill/>
            <a:ln w="9525" cap="flat" cmpd="sng" algn="ctr">
              <a:noFill/>
              <a:prstDash val="solid"/>
            </a:ln>
            <a:effectLst/>
          </p:spPr>
          <p:txBody>
            <a:bodyPr rtlCol="0" anchor="ctr">
              <a:noAutofit/>
            </a:bodyPr>
            <a:lstStyle/>
            <a:p>
              <a:pPr algn="ctr" defTabSz="1179930">
                <a:defRPr/>
              </a:pPr>
              <a:r>
                <a:rPr lang="fr-FR" sz="1405" b="1" kern="0" dirty="0">
                  <a:solidFill>
                    <a:srgbClr val="149AC2"/>
                  </a:solidFill>
                  <a:latin typeface="Clan Pro Book" panose="020B0604020101020102" pitchFamily="34" charset="77"/>
                </a:rPr>
                <a:t>Pilier 4 : </a:t>
              </a:r>
              <a:r>
                <a:rPr lang="fr-FR" sz="1405" b="1" kern="0" dirty="0">
                  <a:solidFill>
                    <a:srgbClr val="FFFFFF"/>
                  </a:solidFill>
                  <a:latin typeface="Clan Pro Book" panose="020B0604020101020102" pitchFamily="34" charset="77"/>
                </a:rPr>
                <a:t>Confiance et culture digitale</a:t>
              </a:r>
            </a:p>
          </p:txBody>
        </p:sp>
        <p:sp>
          <p:nvSpPr>
            <p:cNvPr id="54" name="Freeform 33">
              <a:extLst>
                <a:ext uri="{FF2B5EF4-FFF2-40B4-BE49-F238E27FC236}">
                  <a16:creationId xmlns:a16="http://schemas.microsoft.com/office/drawing/2014/main" id="{97A22F9C-E063-924B-9BF8-EBC6C1697C64}"/>
                </a:ext>
              </a:extLst>
            </p:cNvPr>
            <p:cNvSpPr>
              <a:spLocks/>
            </p:cNvSpPr>
            <p:nvPr/>
          </p:nvSpPr>
          <p:spPr>
            <a:xfrm>
              <a:off x="5663180" y="5656135"/>
              <a:ext cx="1250156" cy="376522"/>
            </a:xfrm>
            <a:prstGeom prst="round2DiagRect">
              <a:avLst/>
            </a:prstGeom>
            <a:grpFill/>
            <a:ln w="9525" cap="flat" cmpd="sng" algn="ctr">
              <a:noFill/>
              <a:prstDash val="solid"/>
            </a:ln>
            <a:effectLst/>
          </p:spPr>
          <p:txBody>
            <a:bodyPr rtlCol="0" anchor="ctr">
              <a:noAutofit/>
            </a:bodyPr>
            <a:lstStyle/>
            <a:p>
              <a:pPr algn="ctr" defTabSz="1179930">
                <a:defRPr/>
              </a:pPr>
              <a:r>
                <a:rPr lang="fr-FR" sz="1405" b="1" kern="0" dirty="0">
                  <a:solidFill>
                    <a:srgbClr val="149AC2"/>
                  </a:solidFill>
                  <a:latin typeface="Clan Pro Book" panose="020B0604020101020102" pitchFamily="34" charset="77"/>
                </a:rPr>
                <a:t>Pilier 3 : </a:t>
              </a:r>
              <a:r>
                <a:rPr lang="fr-FR" sz="1405" b="1" kern="0" dirty="0">
                  <a:solidFill>
                    <a:srgbClr val="FFFFFF"/>
                  </a:solidFill>
                  <a:latin typeface="Clan Pro Book" panose="020B0604020101020102" pitchFamily="34" charset="77"/>
                </a:rPr>
                <a:t>Infrastructure numérique</a:t>
              </a:r>
            </a:p>
          </p:txBody>
        </p:sp>
      </p:grpSp>
      <p:sp>
        <p:nvSpPr>
          <p:cNvPr id="4" name="Rectangle 3">
            <a:extLst>
              <a:ext uri="{FF2B5EF4-FFF2-40B4-BE49-F238E27FC236}">
                <a16:creationId xmlns:a16="http://schemas.microsoft.com/office/drawing/2014/main" id="{E91436DC-506C-4A29-BFBE-95FEE51ECCD8}"/>
              </a:ext>
            </a:extLst>
          </p:cNvPr>
          <p:cNvSpPr/>
          <p:nvPr/>
        </p:nvSpPr>
        <p:spPr>
          <a:xfrm>
            <a:off x="2506847" y="4100335"/>
            <a:ext cx="1413068" cy="572721"/>
          </a:xfrm>
          <a:prstGeom prst="rect">
            <a:avLst/>
          </a:prstGeom>
          <a:solidFill>
            <a:srgbClr val="149AC2"/>
          </a:solidFill>
          <a:ln>
            <a:solidFill>
              <a:srgbClr val="149AC2"/>
            </a:solidFill>
          </a:ln>
        </p:spPr>
        <p:txBody>
          <a:bodyPr wrap="square">
            <a:spAutoFit/>
          </a:bodyPr>
          <a:lstStyle/>
          <a:p>
            <a:pPr algn="ctr" defTabSz="491380"/>
            <a:r>
              <a:rPr lang="fr-FR" altLang="de-DE" sz="1561" dirty="0">
                <a:solidFill>
                  <a:schemeClr val="bg1"/>
                </a:solidFill>
                <a:latin typeface="Helvetica" pitchFamily="2" charset="0"/>
              </a:rPr>
              <a:t>Axes stratégiques</a:t>
            </a:r>
          </a:p>
        </p:txBody>
      </p:sp>
      <p:cxnSp>
        <p:nvCxnSpPr>
          <p:cNvPr id="7" name="Connector: Elbow 6">
            <a:extLst>
              <a:ext uri="{FF2B5EF4-FFF2-40B4-BE49-F238E27FC236}">
                <a16:creationId xmlns:a16="http://schemas.microsoft.com/office/drawing/2014/main" id="{F0624998-4129-48A7-B068-35B505D06B44}"/>
              </a:ext>
            </a:extLst>
          </p:cNvPr>
          <p:cNvCxnSpPr>
            <a:cxnSpLocks/>
          </p:cNvCxnSpPr>
          <p:nvPr/>
        </p:nvCxnSpPr>
        <p:spPr>
          <a:xfrm flipV="1">
            <a:off x="3919915" y="2475307"/>
            <a:ext cx="1819746" cy="561681"/>
          </a:xfrm>
          <a:prstGeom prst="bentConnector3">
            <a:avLst>
              <a:gd name="adj1" fmla="val 50000"/>
            </a:avLst>
          </a:prstGeom>
          <a:ln>
            <a:tailEnd type="triangle"/>
          </a:ln>
        </p:spPr>
        <p:style>
          <a:lnRef idx="1">
            <a:schemeClr val="accent5"/>
          </a:lnRef>
          <a:fillRef idx="0">
            <a:schemeClr val="accent5"/>
          </a:fillRef>
          <a:effectRef idx="0">
            <a:schemeClr val="accent5"/>
          </a:effectRef>
          <a:fontRef idx="minor">
            <a:schemeClr val="tx1"/>
          </a:fontRef>
        </p:style>
      </p:cxnSp>
      <p:sp>
        <p:nvSpPr>
          <p:cNvPr id="49" name="Espace réservé du texte 2">
            <a:extLst>
              <a:ext uri="{FF2B5EF4-FFF2-40B4-BE49-F238E27FC236}">
                <a16:creationId xmlns:a16="http://schemas.microsoft.com/office/drawing/2014/main" id="{2B9C1DCD-643D-478C-A469-8100BC697F58}"/>
              </a:ext>
            </a:extLst>
          </p:cNvPr>
          <p:cNvSpPr txBox="1">
            <a:spLocks/>
          </p:cNvSpPr>
          <p:nvPr/>
        </p:nvSpPr>
        <p:spPr>
          <a:xfrm>
            <a:off x="407914" y="1157971"/>
            <a:ext cx="11461475" cy="337102"/>
          </a:xfrm>
          <a:prstGeom prst="rect">
            <a:avLst/>
          </a:prstGeom>
        </p:spPr>
        <p:txBody>
          <a:bodyPr lIns="0" tIns="0" rIns="0" bIns="0" anchor="t"/>
          <a:lstStyle>
            <a:lvl1pPr marL="0" indent="0" algn="l" defTabSz="696913" rtl="0" eaLnBrk="0" fontAlgn="base" hangingPunct="0">
              <a:spcBef>
                <a:spcPct val="20000"/>
              </a:spcBef>
              <a:spcAft>
                <a:spcPct val="0"/>
              </a:spcAft>
              <a:buFont typeface="Arial" charset="0"/>
              <a:buNone/>
              <a:defRPr sz="1600" kern="1200">
                <a:solidFill>
                  <a:srgbClr val="7550A1"/>
                </a:solidFill>
                <a:latin typeface="Helvetica" pitchFamily="2" charset="0"/>
                <a:ea typeface="+mn-ea"/>
                <a:cs typeface="+mn-cs"/>
              </a:defRPr>
            </a:lvl1pPr>
            <a:lvl2pPr marL="565150" indent="-217488" algn="l" defTabSz="696913" rtl="0" eaLnBrk="0" fontAlgn="base" hangingPunct="0">
              <a:spcBef>
                <a:spcPct val="20000"/>
              </a:spcBef>
              <a:spcAft>
                <a:spcPct val="0"/>
              </a:spcAft>
              <a:buFont typeface="Arial" charset="0"/>
              <a:buChar char="–"/>
              <a:defRPr sz="2100" kern="1200">
                <a:solidFill>
                  <a:schemeClr val="tx1"/>
                </a:solidFill>
                <a:latin typeface="+mn-lt"/>
                <a:ea typeface="+mn-ea"/>
                <a:cs typeface="+mn-cs"/>
              </a:defRPr>
            </a:lvl2pPr>
            <a:lvl3pPr marL="871538" indent="-173038" algn="l" defTabSz="696913" rtl="0" eaLnBrk="0" fontAlgn="base" hangingPunct="0">
              <a:spcBef>
                <a:spcPct val="20000"/>
              </a:spcBef>
              <a:spcAft>
                <a:spcPct val="0"/>
              </a:spcAft>
              <a:buFont typeface="Arial" charset="0"/>
              <a:buChar char="•"/>
              <a:defRPr kern="1200">
                <a:solidFill>
                  <a:schemeClr val="tx1"/>
                </a:solidFill>
                <a:latin typeface="+mn-lt"/>
                <a:ea typeface="+mn-ea"/>
                <a:cs typeface="+mn-cs"/>
              </a:defRPr>
            </a:lvl3pPr>
            <a:lvl4pPr marL="1219200" indent="-173038" algn="l" defTabSz="696913" rtl="0" eaLnBrk="0" fontAlgn="base" hangingPunct="0">
              <a:spcBef>
                <a:spcPct val="20000"/>
              </a:spcBef>
              <a:spcAft>
                <a:spcPct val="0"/>
              </a:spcAft>
              <a:buFont typeface="Arial" charset="0"/>
              <a:buChar char="–"/>
              <a:defRPr sz="1500" kern="1200">
                <a:solidFill>
                  <a:schemeClr val="tx1"/>
                </a:solidFill>
                <a:latin typeface="+mn-lt"/>
                <a:ea typeface="+mn-ea"/>
                <a:cs typeface="+mn-cs"/>
              </a:defRPr>
            </a:lvl4pPr>
            <a:lvl5pPr marL="1568450" indent="-173038" algn="l" defTabSz="696913" rtl="0" eaLnBrk="0" fontAlgn="base" hangingPunct="0">
              <a:spcBef>
                <a:spcPct val="20000"/>
              </a:spcBef>
              <a:spcAft>
                <a:spcPct val="0"/>
              </a:spcAft>
              <a:buFont typeface="Arial" charset="0"/>
              <a:buChar char="»"/>
              <a:defRPr sz="1500" kern="1200">
                <a:solidFill>
                  <a:schemeClr val="tx1"/>
                </a:solidFill>
                <a:latin typeface="+mn-lt"/>
                <a:ea typeface="+mn-ea"/>
                <a:cs typeface="+mn-cs"/>
              </a:defRPr>
            </a:lvl5pPr>
            <a:lvl6pPr marL="1917634" indent="-174330" algn="l" defTabSz="69732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66295" indent="-174330" algn="l" defTabSz="69732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14955" indent="-174330" algn="l" defTabSz="69732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63616" indent="-174330" algn="l" defTabSz="69732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just"/>
            <a:r>
              <a:rPr lang="fr-FR" sz="2185" dirty="0"/>
              <a:t>Les attributions de l’Agence sont multiples et structurantes*:</a:t>
            </a:r>
          </a:p>
        </p:txBody>
      </p:sp>
    </p:spTree>
    <p:extLst>
      <p:ext uri="{BB962C8B-B14F-4D97-AF65-F5344CB8AC3E}">
        <p14:creationId xmlns:p14="http://schemas.microsoft.com/office/powerpoint/2010/main" val="9300528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rrow: Right 2">
            <a:extLst>
              <a:ext uri="{FF2B5EF4-FFF2-40B4-BE49-F238E27FC236}">
                <a16:creationId xmlns:a16="http://schemas.microsoft.com/office/drawing/2014/main" id="{8450481B-317A-47E0-A8E0-ACB136B62EE6}"/>
              </a:ext>
            </a:extLst>
          </p:cNvPr>
          <p:cNvSpPr/>
          <p:nvPr/>
        </p:nvSpPr>
        <p:spPr>
          <a:xfrm>
            <a:off x="1114895" y="2647335"/>
            <a:ext cx="3270360" cy="1975672"/>
          </a:xfrm>
          <a:prstGeom prst="right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809" dirty="0"/>
          </a:p>
        </p:txBody>
      </p:sp>
      <p:sp>
        <p:nvSpPr>
          <p:cNvPr id="2" name="Titre 1"/>
          <p:cNvSpPr>
            <a:spLocks noGrp="1"/>
          </p:cNvSpPr>
          <p:nvPr>
            <p:ph type="title"/>
          </p:nvPr>
        </p:nvSpPr>
        <p:spPr>
          <a:xfrm>
            <a:off x="407776" y="410332"/>
            <a:ext cx="11461613" cy="449470"/>
          </a:xfrm>
        </p:spPr>
        <p:txBody>
          <a:bodyPr/>
          <a:lstStyle/>
          <a:p>
            <a:r>
              <a:rPr lang="fr-FR" dirty="0"/>
              <a:t>2. Missions et Rôles de l’ADD</a:t>
            </a:r>
          </a:p>
        </p:txBody>
      </p:sp>
      <p:sp>
        <p:nvSpPr>
          <p:cNvPr id="49" name="Espace réservé du texte 2">
            <a:extLst>
              <a:ext uri="{FF2B5EF4-FFF2-40B4-BE49-F238E27FC236}">
                <a16:creationId xmlns:a16="http://schemas.microsoft.com/office/drawing/2014/main" id="{2B9C1DCD-643D-478C-A469-8100BC697F58}"/>
              </a:ext>
            </a:extLst>
          </p:cNvPr>
          <p:cNvSpPr txBox="1">
            <a:spLocks/>
          </p:cNvSpPr>
          <p:nvPr/>
        </p:nvSpPr>
        <p:spPr>
          <a:xfrm>
            <a:off x="407914" y="1157971"/>
            <a:ext cx="11461475" cy="337102"/>
          </a:xfrm>
          <a:prstGeom prst="rect">
            <a:avLst/>
          </a:prstGeom>
        </p:spPr>
        <p:txBody>
          <a:bodyPr lIns="0" tIns="0" rIns="0" bIns="0" anchor="t"/>
          <a:lstStyle>
            <a:lvl1pPr marL="0" indent="0" algn="l" defTabSz="696913" rtl="0" eaLnBrk="0" fontAlgn="base" hangingPunct="0">
              <a:spcBef>
                <a:spcPct val="20000"/>
              </a:spcBef>
              <a:spcAft>
                <a:spcPct val="0"/>
              </a:spcAft>
              <a:buFont typeface="Arial" charset="0"/>
              <a:buNone/>
              <a:defRPr sz="1600" kern="1200">
                <a:solidFill>
                  <a:srgbClr val="7550A1"/>
                </a:solidFill>
                <a:latin typeface="Helvetica" pitchFamily="2" charset="0"/>
                <a:ea typeface="+mn-ea"/>
                <a:cs typeface="+mn-cs"/>
              </a:defRPr>
            </a:lvl1pPr>
            <a:lvl2pPr marL="565150" indent="-217488" algn="l" defTabSz="696913" rtl="0" eaLnBrk="0" fontAlgn="base" hangingPunct="0">
              <a:spcBef>
                <a:spcPct val="20000"/>
              </a:spcBef>
              <a:spcAft>
                <a:spcPct val="0"/>
              </a:spcAft>
              <a:buFont typeface="Arial" charset="0"/>
              <a:buChar char="–"/>
              <a:defRPr sz="2100" kern="1200">
                <a:solidFill>
                  <a:schemeClr val="tx1"/>
                </a:solidFill>
                <a:latin typeface="+mn-lt"/>
                <a:ea typeface="+mn-ea"/>
                <a:cs typeface="+mn-cs"/>
              </a:defRPr>
            </a:lvl2pPr>
            <a:lvl3pPr marL="871538" indent="-173038" algn="l" defTabSz="696913" rtl="0" eaLnBrk="0" fontAlgn="base" hangingPunct="0">
              <a:spcBef>
                <a:spcPct val="20000"/>
              </a:spcBef>
              <a:spcAft>
                <a:spcPct val="0"/>
              </a:spcAft>
              <a:buFont typeface="Arial" charset="0"/>
              <a:buChar char="•"/>
              <a:defRPr kern="1200">
                <a:solidFill>
                  <a:schemeClr val="tx1"/>
                </a:solidFill>
                <a:latin typeface="+mn-lt"/>
                <a:ea typeface="+mn-ea"/>
                <a:cs typeface="+mn-cs"/>
              </a:defRPr>
            </a:lvl3pPr>
            <a:lvl4pPr marL="1219200" indent="-173038" algn="l" defTabSz="696913" rtl="0" eaLnBrk="0" fontAlgn="base" hangingPunct="0">
              <a:spcBef>
                <a:spcPct val="20000"/>
              </a:spcBef>
              <a:spcAft>
                <a:spcPct val="0"/>
              </a:spcAft>
              <a:buFont typeface="Arial" charset="0"/>
              <a:buChar char="–"/>
              <a:defRPr sz="1500" kern="1200">
                <a:solidFill>
                  <a:schemeClr val="tx1"/>
                </a:solidFill>
                <a:latin typeface="+mn-lt"/>
                <a:ea typeface="+mn-ea"/>
                <a:cs typeface="+mn-cs"/>
              </a:defRPr>
            </a:lvl4pPr>
            <a:lvl5pPr marL="1568450" indent="-173038" algn="l" defTabSz="696913" rtl="0" eaLnBrk="0" fontAlgn="base" hangingPunct="0">
              <a:spcBef>
                <a:spcPct val="20000"/>
              </a:spcBef>
              <a:spcAft>
                <a:spcPct val="0"/>
              </a:spcAft>
              <a:buFont typeface="Arial" charset="0"/>
              <a:buChar char="»"/>
              <a:defRPr sz="1500" kern="1200">
                <a:solidFill>
                  <a:schemeClr val="tx1"/>
                </a:solidFill>
                <a:latin typeface="+mn-lt"/>
                <a:ea typeface="+mn-ea"/>
                <a:cs typeface="+mn-cs"/>
              </a:defRPr>
            </a:lvl5pPr>
            <a:lvl6pPr marL="1917634" indent="-174330" algn="l" defTabSz="69732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66295" indent="-174330" algn="l" defTabSz="69732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14955" indent="-174330" algn="l" defTabSz="69732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63616" indent="-174330" algn="l" defTabSz="69732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just"/>
            <a:r>
              <a:rPr lang="fr-FR" sz="2185" dirty="0"/>
              <a:t>Les attributions de l’Agence sont multiples et structurantes*:</a:t>
            </a:r>
          </a:p>
        </p:txBody>
      </p:sp>
      <p:sp>
        <p:nvSpPr>
          <p:cNvPr id="31" name="Rectangle 30">
            <a:extLst>
              <a:ext uri="{FF2B5EF4-FFF2-40B4-BE49-F238E27FC236}">
                <a16:creationId xmlns:a16="http://schemas.microsoft.com/office/drawing/2014/main" id="{B5B11AE2-3F95-4DDC-A6D3-5C93AAEEB913}"/>
              </a:ext>
            </a:extLst>
          </p:cNvPr>
          <p:cNvSpPr/>
          <p:nvPr/>
        </p:nvSpPr>
        <p:spPr>
          <a:xfrm>
            <a:off x="596145" y="1735168"/>
            <a:ext cx="1740807" cy="1042997"/>
          </a:xfrm>
          <a:prstGeom prst="rect">
            <a:avLst/>
          </a:prstGeom>
          <a:solidFill>
            <a:srgbClr val="002060"/>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5" dirty="0">
                <a:latin typeface="Helvetica" pitchFamily="2" charset="0"/>
              </a:rPr>
              <a:t>Exécution</a:t>
            </a:r>
            <a:r>
              <a:rPr lang="en-US" sz="1405" dirty="0">
                <a:latin typeface="Helvetica" pitchFamily="2" charset="0"/>
              </a:rPr>
              <a:t> de la </a:t>
            </a:r>
            <a:r>
              <a:rPr lang="fr-FR" sz="1405" dirty="0">
                <a:latin typeface="Helvetica" pitchFamily="2" charset="0"/>
              </a:rPr>
              <a:t>Stratégie</a:t>
            </a:r>
            <a:r>
              <a:rPr lang="en-US" sz="1405" dirty="0">
                <a:latin typeface="Helvetica" pitchFamily="2" charset="0"/>
              </a:rPr>
              <a:t> </a:t>
            </a:r>
            <a:r>
              <a:rPr lang="fr-FR" sz="1405" dirty="0">
                <a:latin typeface="Helvetica" pitchFamily="2" charset="0"/>
              </a:rPr>
              <a:t>Digitale</a:t>
            </a:r>
          </a:p>
        </p:txBody>
      </p:sp>
      <p:sp>
        <p:nvSpPr>
          <p:cNvPr id="37" name="Oval 11">
            <a:extLst>
              <a:ext uri="{FF2B5EF4-FFF2-40B4-BE49-F238E27FC236}">
                <a16:creationId xmlns:a16="http://schemas.microsoft.com/office/drawing/2014/main" id="{A34CB2BD-608D-4986-A4B1-E25F24C4CD99}"/>
              </a:ext>
            </a:extLst>
          </p:cNvPr>
          <p:cNvSpPr/>
          <p:nvPr/>
        </p:nvSpPr>
        <p:spPr>
          <a:xfrm>
            <a:off x="407914" y="1636147"/>
            <a:ext cx="337102" cy="337101"/>
          </a:xfrm>
          <a:prstGeom prst="ellipse">
            <a:avLst/>
          </a:prstGeom>
          <a:solidFill>
            <a:srgbClr val="63CCE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61" dirty="0">
                <a:latin typeface="Helvetica" pitchFamily="2" charset="0"/>
              </a:rPr>
              <a:t>1</a:t>
            </a:r>
          </a:p>
        </p:txBody>
      </p:sp>
      <p:sp>
        <p:nvSpPr>
          <p:cNvPr id="38" name="Rectangle 37">
            <a:extLst>
              <a:ext uri="{FF2B5EF4-FFF2-40B4-BE49-F238E27FC236}">
                <a16:creationId xmlns:a16="http://schemas.microsoft.com/office/drawing/2014/main" id="{D79B18E4-D6E4-47CD-9609-6409A03663D4}"/>
              </a:ext>
            </a:extLst>
          </p:cNvPr>
          <p:cNvSpPr/>
          <p:nvPr/>
        </p:nvSpPr>
        <p:spPr>
          <a:xfrm>
            <a:off x="596144" y="3086481"/>
            <a:ext cx="2778272" cy="1113445"/>
          </a:xfrm>
          <a:prstGeom prst="rect">
            <a:avLst/>
          </a:prstGeom>
          <a:solidFill>
            <a:srgbClr val="002060"/>
          </a:solidFill>
          <a:ln w="1270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809" dirty="0">
                <a:latin typeface="Helvetica" pitchFamily="2" charset="0"/>
              </a:rPr>
              <a:t>Gouvernement</a:t>
            </a:r>
            <a:r>
              <a:rPr lang="en-US" sz="2809" dirty="0">
                <a:latin typeface="Helvetica" pitchFamily="2" charset="0"/>
              </a:rPr>
              <a:t> </a:t>
            </a:r>
            <a:r>
              <a:rPr lang="fr-FR" sz="2809" dirty="0">
                <a:latin typeface="Helvetica" pitchFamily="2" charset="0"/>
              </a:rPr>
              <a:t>digital</a:t>
            </a:r>
          </a:p>
        </p:txBody>
      </p:sp>
      <p:sp>
        <p:nvSpPr>
          <p:cNvPr id="39" name="Oval 11">
            <a:extLst>
              <a:ext uri="{FF2B5EF4-FFF2-40B4-BE49-F238E27FC236}">
                <a16:creationId xmlns:a16="http://schemas.microsoft.com/office/drawing/2014/main" id="{81EABC93-2F11-4B6A-8769-A3A310D5034D}"/>
              </a:ext>
            </a:extLst>
          </p:cNvPr>
          <p:cNvSpPr/>
          <p:nvPr/>
        </p:nvSpPr>
        <p:spPr>
          <a:xfrm>
            <a:off x="407914" y="2987459"/>
            <a:ext cx="337102" cy="337102"/>
          </a:xfrm>
          <a:prstGeom prst="ellipse">
            <a:avLst/>
          </a:prstGeom>
          <a:solidFill>
            <a:srgbClr val="63CCE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61" dirty="0">
                <a:latin typeface="Helvetica" pitchFamily="2" charset="0"/>
              </a:rPr>
              <a:t>2</a:t>
            </a:r>
          </a:p>
        </p:txBody>
      </p:sp>
      <p:sp>
        <p:nvSpPr>
          <p:cNvPr id="40" name="Rectangle 39">
            <a:extLst>
              <a:ext uri="{FF2B5EF4-FFF2-40B4-BE49-F238E27FC236}">
                <a16:creationId xmlns:a16="http://schemas.microsoft.com/office/drawing/2014/main" id="{A0B794F6-F8CA-41D8-84A1-3271B64C6D00}"/>
              </a:ext>
            </a:extLst>
          </p:cNvPr>
          <p:cNvSpPr/>
          <p:nvPr/>
        </p:nvSpPr>
        <p:spPr>
          <a:xfrm>
            <a:off x="596145" y="4384925"/>
            <a:ext cx="1740807" cy="869081"/>
          </a:xfrm>
          <a:prstGeom prst="rect">
            <a:avLst/>
          </a:prstGeom>
          <a:solidFill>
            <a:srgbClr val="002060"/>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5" dirty="0">
                <a:latin typeface="Helvetica" pitchFamily="2" charset="0"/>
              </a:rPr>
              <a:t>Economie</a:t>
            </a:r>
            <a:r>
              <a:rPr lang="en-US" sz="1405" dirty="0">
                <a:latin typeface="Helvetica" pitchFamily="2" charset="0"/>
              </a:rPr>
              <a:t> et </a:t>
            </a:r>
            <a:r>
              <a:rPr lang="fr-FR" sz="1405" dirty="0">
                <a:latin typeface="Helvetica" pitchFamily="2" charset="0"/>
              </a:rPr>
              <a:t>société</a:t>
            </a:r>
            <a:r>
              <a:rPr lang="en-US" sz="1405" dirty="0">
                <a:latin typeface="Helvetica" pitchFamily="2" charset="0"/>
              </a:rPr>
              <a:t> </a:t>
            </a:r>
            <a:r>
              <a:rPr lang="fr-FR" sz="1405" dirty="0">
                <a:latin typeface="Helvetica" pitchFamily="2" charset="0"/>
              </a:rPr>
              <a:t>digitales</a:t>
            </a:r>
          </a:p>
        </p:txBody>
      </p:sp>
      <p:sp>
        <p:nvSpPr>
          <p:cNvPr id="41" name="Oval 11">
            <a:extLst>
              <a:ext uri="{FF2B5EF4-FFF2-40B4-BE49-F238E27FC236}">
                <a16:creationId xmlns:a16="http://schemas.microsoft.com/office/drawing/2014/main" id="{5564A583-70EF-494A-A549-896CACF8B030}"/>
              </a:ext>
            </a:extLst>
          </p:cNvPr>
          <p:cNvSpPr/>
          <p:nvPr/>
        </p:nvSpPr>
        <p:spPr>
          <a:xfrm>
            <a:off x="407914" y="4285905"/>
            <a:ext cx="337102" cy="337102"/>
          </a:xfrm>
          <a:prstGeom prst="ellipse">
            <a:avLst/>
          </a:prstGeom>
          <a:solidFill>
            <a:srgbClr val="63CCE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61" dirty="0">
                <a:latin typeface="Helvetica" pitchFamily="2" charset="0"/>
              </a:rPr>
              <a:t>3</a:t>
            </a:r>
          </a:p>
        </p:txBody>
      </p:sp>
      <p:sp>
        <p:nvSpPr>
          <p:cNvPr id="42" name="Rectangle 41">
            <a:extLst>
              <a:ext uri="{FF2B5EF4-FFF2-40B4-BE49-F238E27FC236}">
                <a16:creationId xmlns:a16="http://schemas.microsoft.com/office/drawing/2014/main" id="{1290576A-BC71-427F-9645-291D1109FAD1}"/>
              </a:ext>
            </a:extLst>
          </p:cNvPr>
          <p:cNvSpPr/>
          <p:nvPr/>
        </p:nvSpPr>
        <p:spPr>
          <a:xfrm>
            <a:off x="596145" y="5538026"/>
            <a:ext cx="1740807" cy="688690"/>
          </a:xfrm>
          <a:prstGeom prst="rect">
            <a:avLst/>
          </a:prstGeom>
          <a:solidFill>
            <a:srgbClr val="002060"/>
          </a:solidFill>
          <a:ln w="1270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5" dirty="0">
                <a:latin typeface="Helvetica" pitchFamily="2" charset="0"/>
              </a:rPr>
              <a:t>Recherche</a:t>
            </a:r>
            <a:r>
              <a:rPr lang="en-US" sz="1405" dirty="0">
                <a:latin typeface="Helvetica" pitchFamily="2" charset="0"/>
              </a:rPr>
              <a:t> et formation</a:t>
            </a:r>
          </a:p>
        </p:txBody>
      </p:sp>
      <p:sp>
        <p:nvSpPr>
          <p:cNvPr id="44" name="Oval 11">
            <a:extLst>
              <a:ext uri="{FF2B5EF4-FFF2-40B4-BE49-F238E27FC236}">
                <a16:creationId xmlns:a16="http://schemas.microsoft.com/office/drawing/2014/main" id="{BC07FA1C-CA59-4254-9D64-74804043B269}"/>
              </a:ext>
            </a:extLst>
          </p:cNvPr>
          <p:cNvSpPr/>
          <p:nvPr/>
        </p:nvSpPr>
        <p:spPr>
          <a:xfrm>
            <a:off x="407914" y="5439005"/>
            <a:ext cx="337102" cy="337102"/>
          </a:xfrm>
          <a:prstGeom prst="ellipse">
            <a:avLst/>
          </a:prstGeom>
          <a:solidFill>
            <a:srgbClr val="63CCE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61" dirty="0">
                <a:latin typeface="Helvetica" pitchFamily="2" charset="0"/>
              </a:rPr>
              <a:t>4</a:t>
            </a:r>
          </a:p>
        </p:txBody>
      </p:sp>
      <p:sp>
        <p:nvSpPr>
          <p:cNvPr id="45" name="TextBox 16">
            <a:extLst>
              <a:ext uri="{FF2B5EF4-FFF2-40B4-BE49-F238E27FC236}">
                <a16:creationId xmlns:a16="http://schemas.microsoft.com/office/drawing/2014/main" id="{1279A276-EC04-4AFD-83A5-C58B7A716E29}"/>
              </a:ext>
            </a:extLst>
          </p:cNvPr>
          <p:cNvSpPr txBox="1"/>
          <p:nvPr/>
        </p:nvSpPr>
        <p:spPr>
          <a:xfrm>
            <a:off x="4344439" y="1973248"/>
            <a:ext cx="7482230" cy="3724353"/>
          </a:xfrm>
          <a:prstGeom prst="rect">
            <a:avLst/>
          </a:prstGeom>
          <a:noFill/>
        </p:spPr>
        <p:txBody>
          <a:bodyPr wrap="square" rtlCol="0">
            <a:spAutoFit/>
          </a:bodyPr>
          <a:lstStyle/>
          <a:p>
            <a:pPr marL="267582" lvl="1" indent="-267582" defTabSz="1179930">
              <a:lnSpc>
                <a:spcPct val="90000"/>
              </a:lnSpc>
              <a:buSzPct val="100000"/>
              <a:buFont typeface="Arial" panose="020B0604020202020204" pitchFamily="34" charset="0"/>
              <a:buChar char="•"/>
              <a:defRPr/>
            </a:pPr>
            <a:r>
              <a:rPr lang="fr-FR" sz="1873" kern="0" dirty="0">
                <a:solidFill>
                  <a:srgbClr val="002060"/>
                </a:solidFill>
                <a:latin typeface="Helvetica" pitchFamily="2" charset="0"/>
                <a:cs typeface="Arial" panose="020B0604020202020204" pitchFamily="34" charset="0"/>
              </a:rPr>
              <a:t>Procéder, </a:t>
            </a:r>
            <a:r>
              <a:rPr lang="fr-FR" sz="1873" b="1" kern="0" dirty="0">
                <a:solidFill>
                  <a:srgbClr val="002060"/>
                </a:solidFill>
                <a:latin typeface="Helvetica" pitchFamily="2" charset="0"/>
                <a:cs typeface="Arial" panose="020B0604020202020204" pitchFamily="34" charset="0"/>
              </a:rPr>
              <a:t>dans le cadre des programmes E-</a:t>
            </a:r>
            <a:r>
              <a:rPr lang="fr-FR" sz="1873" b="1" kern="0" dirty="0" err="1">
                <a:solidFill>
                  <a:srgbClr val="002060"/>
                </a:solidFill>
                <a:latin typeface="Helvetica" pitchFamily="2" charset="0"/>
                <a:cs typeface="Arial" panose="020B0604020202020204" pitchFamily="34" charset="0"/>
              </a:rPr>
              <a:t>Gov</a:t>
            </a:r>
            <a:r>
              <a:rPr lang="fr-FR" sz="1873" kern="0" dirty="0">
                <a:solidFill>
                  <a:srgbClr val="002060"/>
                </a:solidFill>
                <a:latin typeface="Helvetica" pitchFamily="2" charset="0"/>
                <a:cs typeface="Arial" panose="020B0604020202020204" pitchFamily="34" charset="0"/>
              </a:rPr>
              <a:t>, en coordination avec les organismes concernés, à la mise en place des conceptions relatives aux projets de </a:t>
            </a:r>
            <a:r>
              <a:rPr lang="fr-FR" sz="1873" b="1" kern="0" dirty="0">
                <a:solidFill>
                  <a:srgbClr val="002060"/>
                </a:solidFill>
                <a:latin typeface="Helvetica" pitchFamily="2" charset="0"/>
                <a:cs typeface="Arial" panose="020B0604020202020204" pitchFamily="34" charset="0"/>
              </a:rPr>
              <a:t>l’administration électronique </a:t>
            </a:r>
            <a:r>
              <a:rPr lang="fr-FR" sz="1873" kern="0" dirty="0">
                <a:solidFill>
                  <a:srgbClr val="002060"/>
                </a:solidFill>
                <a:latin typeface="Helvetica" pitchFamily="2" charset="0"/>
                <a:cs typeface="Arial" panose="020B0604020202020204" pitchFamily="34" charset="0"/>
              </a:rPr>
              <a:t>et de développement </a:t>
            </a:r>
            <a:r>
              <a:rPr lang="fr-FR" sz="1873" b="1" kern="0" dirty="0">
                <a:solidFill>
                  <a:srgbClr val="002060"/>
                </a:solidFill>
                <a:latin typeface="Helvetica" pitchFamily="2" charset="0"/>
                <a:cs typeface="Arial" panose="020B0604020202020204" pitchFamily="34" charset="0"/>
              </a:rPr>
              <a:t>des services publics numériques </a:t>
            </a:r>
            <a:r>
              <a:rPr lang="fr-FR" sz="1873" kern="0" dirty="0">
                <a:solidFill>
                  <a:srgbClr val="002060"/>
                </a:solidFill>
                <a:latin typeface="Helvetica" pitchFamily="2" charset="0"/>
                <a:cs typeface="Arial" panose="020B0604020202020204" pitchFamily="34" charset="0"/>
              </a:rPr>
              <a:t>et garantir leur </a:t>
            </a:r>
            <a:r>
              <a:rPr lang="fr-FR" sz="1873" b="1" kern="0" dirty="0">
                <a:solidFill>
                  <a:srgbClr val="002060"/>
                </a:solidFill>
                <a:latin typeface="Helvetica" pitchFamily="2" charset="0"/>
                <a:cs typeface="Arial" panose="020B0604020202020204" pitchFamily="34" charset="0"/>
              </a:rPr>
              <a:t>interopérabilité</a:t>
            </a:r>
            <a:r>
              <a:rPr lang="fr-FR" sz="1873" kern="0" dirty="0">
                <a:solidFill>
                  <a:srgbClr val="002060"/>
                </a:solidFill>
                <a:latin typeface="Helvetica" pitchFamily="2" charset="0"/>
                <a:cs typeface="Arial" panose="020B0604020202020204" pitchFamily="34" charset="0"/>
              </a:rPr>
              <a:t> et leur </a:t>
            </a:r>
            <a:r>
              <a:rPr lang="fr-FR" sz="1873" b="1" kern="0" dirty="0">
                <a:solidFill>
                  <a:srgbClr val="002060"/>
                </a:solidFill>
                <a:latin typeface="Helvetica" pitchFamily="2" charset="0"/>
                <a:cs typeface="Arial" panose="020B0604020202020204" pitchFamily="34" charset="0"/>
              </a:rPr>
              <a:t>intégration</a:t>
            </a:r>
            <a:r>
              <a:rPr lang="fr-FR" sz="1873" kern="0" dirty="0">
                <a:solidFill>
                  <a:srgbClr val="002060"/>
                </a:solidFill>
                <a:latin typeface="Helvetica" pitchFamily="2" charset="0"/>
                <a:cs typeface="Arial" panose="020B0604020202020204" pitchFamily="34" charset="0"/>
              </a:rPr>
              <a:t>…</a:t>
            </a:r>
          </a:p>
          <a:p>
            <a:pPr marL="267582" lvl="1" indent="-267582" defTabSz="1179930">
              <a:lnSpc>
                <a:spcPct val="90000"/>
              </a:lnSpc>
              <a:buSzPct val="100000"/>
              <a:buFont typeface="Arial" panose="020B0604020202020204" pitchFamily="34" charset="0"/>
              <a:buChar char="•"/>
              <a:defRPr/>
            </a:pPr>
            <a:r>
              <a:rPr lang="fr-FR" altLang="fr-FR" sz="1873" kern="0" dirty="0">
                <a:solidFill>
                  <a:srgbClr val="002060"/>
                </a:solidFill>
                <a:latin typeface="Helvetica" pitchFamily="2" charset="0"/>
                <a:cs typeface="Arial" panose="020B0604020202020204" pitchFamily="34" charset="0"/>
                <a:sym typeface="+mn-lt"/>
              </a:rPr>
              <a:t>Mettre en place avec les autorités et les organismes concernés, les </a:t>
            </a:r>
            <a:r>
              <a:rPr lang="fr-FR" altLang="fr-FR" sz="1873" b="1" kern="0" dirty="0">
                <a:solidFill>
                  <a:srgbClr val="002060"/>
                </a:solidFill>
                <a:latin typeface="Helvetica" pitchFamily="2" charset="0"/>
                <a:cs typeface="Arial" panose="020B0604020202020204" pitchFamily="34" charset="0"/>
                <a:sym typeface="+mn-lt"/>
              </a:rPr>
              <a:t>normes techniques </a:t>
            </a:r>
            <a:r>
              <a:rPr lang="fr-FR" altLang="fr-FR" sz="1873" kern="0" dirty="0">
                <a:solidFill>
                  <a:srgbClr val="002060"/>
                </a:solidFill>
                <a:latin typeface="Helvetica" pitchFamily="2" charset="0"/>
                <a:cs typeface="Arial" panose="020B0604020202020204" pitchFamily="34" charset="0"/>
                <a:sym typeface="+mn-lt"/>
              </a:rPr>
              <a:t>concernant les produits et les services numériques et veiller à leur application</a:t>
            </a:r>
          </a:p>
          <a:p>
            <a:pPr marL="267582" lvl="1" indent="-267582" defTabSz="1179930">
              <a:lnSpc>
                <a:spcPct val="90000"/>
              </a:lnSpc>
              <a:buSzPct val="100000"/>
              <a:buFont typeface="Arial" panose="020B0604020202020204" pitchFamily="34" charset="0"/>
              <a:buChar char="•"/>
              <a:defRPr/>
            </a:pPr>
            <a:r>
              <a:rPr lang="fr-FR" altLang="fr-FR" sz="1873" kern="0" dirty="0">
                <a:solidFill>
                  <a:srgbClr val="002060"/>
                </a:solidFill>
                <a:latin typeface="Helvetica" pitchFamily="2" charset="0"/>
                <a:cs typeface="Arial" panose="020B0604020202020204" pitchFamily="34" charset="0"/>
                <a:sym typeface="+mn-lt"/>
              </a:rPr>
              <a:t>Contribuer à la </a:t>
            </a:r>
            <a:r>
              <a:rPr lang="fr-FR" altLang="fr-FR" sz="1873" b="1" kern="0" dirty="0">
                <a:solidFill>
                  <a:srgbClr val="002060"/>
                </a:solidFill>
                <a:latin typeface="Helvetica" pitchFamily="2" charset="0"/>
                <a:cs typeface="Arial" panose="020B0604020202020204" pitchFamily="34" charset="0"/>
                <a:sym typeface="+mn-lt"/>
              </a:rPr>
              <a:t>cohérence et à la convergence des différentes orientations et projets publics </a:t>
            </a:r>
            <a:r>
              <a:rPr lang="fr-FR" altLang="fr-FR" sz="1873" kern="0" dirty="0">
                <a:solidFill>
                  <a:srgbClr val="002060"/>
                </a:solidFill>
                <a:latin typeface="Helvetica" pitchFamily="2" charset="0"/>
                <a:cs typeface="Arial" panose="020B0604020202020204" pitchFamily="34" charset="0"/>
                <a:sym typeface="+mn-lt"/>
              </a:rPr>
              <a:t>dans le domaine de la technologie numérique</a:t>
            </a:r>
          </a:p>
          <a:p>
            <a:pPr marL="267582" lvl="1" indent="-267582" defTabSz="1179930">
              <a:lnSpc>
                <a:spcPct val="90000"/>
              </a:lnSpc>
              <a:buSzPct val="100000"/>
              <a:buFont typeface="Arial" panose="020B0604020202020204" pitchFamily="34" charset="0"/>
              <a:buChar char="•"/>
              <a:defRPr/>
            </a:pPr>
            <a:r>
              <a:rPr lang="fr-FR" altLang="fr-FR" sz="1873" kern="0" dirty="0">
                <a:solidFill>
                  <a:srgbClr val="002060"/>
                </a:solidFill>
                <a:latin typeface="Helvetica" pitchFamily="2" charset="0"/>
                <a:cs typeface="Arial" panose="020B0604020202020204" pitchFamily="34" charset="0"/>
                <a:sym typeface="+mn-lt"/>
              </a:rPr>
              <a:t>Contribuer à l’encouragement, à l’animation et à l’accompagnement des projets et des initiatives numériques développés par les  </a:t>
            </a:r>
            <a:r>
              <a:rPr lang="fr-FR" altLang="fr-FR" sz="1873" b="1" kern="0" dirty="0">
                <a:solidFill>
                  <a:srgbClr val="002060"/>
                </a:solidFill>
                <a:latin typeface="Helvetica" pitchFamily="2" charset="0"/>
                <a:cs typeface="Arial" panose="020B0604020202020204" pitchFamily="34" charset="0"/>
                <a:sym typeface="+mn-lt"/>
              </a:rPr>
              <a:t>collectivités territoriales</a:t>
            </a:r>
          </a:p>
        </p:txBody>
      </p:sp>
    </p:spTree>
    <p:extLst>
      <p:ext uri="{BB962C8B-B14F-4D97-AF65-F5344CB8AC3E}">
        <p14:creationId xmlns:p14="http://schemas.microsoft.com/office/powerpoint/2010/main" val="13542526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75A0AE-CA22-464B-9E21-E0339F317502}"/>
              </a:ext>
            </a:extLst>
          </p:cNvPr>
          <p:cNvSpPr>
            <a:spLocks noGrp="1"/>
          </p:cNvSpPr>
          <p:nvPr>
            <p:ph type="title"/>
          </p:nvPr>
        </p:nvSpPr>
        <p:spPr/>
        <p:txBody>
          <a:bodyPr/>
          <a:lstStyle/>
          <a:p>
            <a:r>
              <a:rPr lang="fr-FR" dirty="0"/>
              <a:t>Bureau d’ordre digital</a:t>
            </a:r>
            <a:endParaRPr lang="fr-MA" dirty="0"/>
          </a:p>
        </p:txBody>
      </p:sp>
      <p:sp>
        <p:nvSpPr>
          <p:cNvPr id="3" name="TextBox 10">
            <a:extLst>
              <a:ext uri="{FF2B5EF4-FFF2-40B4-BE49-F238E27FC236}">
                <a16:creationId xmlns:a16="http://schemas.microsoft.com/office/drawing/2014/main" id="{6702B698-1087-4051-92C3-F8232E200131}"/>
              </a:ext>
            </a:extLst>
          </p:cNvPr>
          <p:cNvSpPr txBox="1"/>
          <p:nvPr/>
        </p:nvSpPr>
        <p:spPr>
          <a:xfrm>
            <a:off x="168026" y="1194205"/>
            <a:ext cx="5049803" cy="2884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837" b="1" dirty="0">
                <a:solidFill>
                  <a:schemeClr val="accent4"/>
                </a:solidFill>
              </a:rPr>
              <a:t>Cible : Administrations, Citoyens et entreprises</a:t>
            </a:r>
          </a:p>
        </p:txBody>
      </p:sp>
      <p:cxnSp>
        <p:nvCxnSpPr>
          <p:cNvPr id="4" name="Straight Connector 66">
            <a:extLst>
              <a:ext uri="{FF2B5EF4-FFF2-40B4-BE49-F238E27FC236}">
                <a16:creationId xmlns:a16="http://schemas.microsoft.com/office/drawing/2014/main" id="{F39F1568-AC0C-4A9F-843A-A9402FEF7AA1}"/>
              </a:ext>
            </a:extLst>
          </p:cNvPr>
          <p:cNvCxnSpPr>
            <a:cxnSpLocks/>
          </p:cNvCxnSpPr>
          <p:nvPr/>
        </p:nvCxnSpPr>
        <p:spPr>
          <a:xfrm>
            <a:off x="168026" y="1558778"/>
            <a:ext cx="1174541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6">
            <a:extLst>
              <a:ext uri="{FF2B5EF4-FFF2-40B4-BE49-F238E27FC236}">
                <a16:creationId xmlns:a16="http://schemas.microsoft.com/office/drawing/2014/main" id="{8D682D8A-F75B-4BB3-90ED-D0C637ECE2EA}"/>
              </a:ext>
            </a:extLst>
          </p:cNvPr>
          <p:cNvSpPr txBox="1">
            <a:spLocks/>
          </p:cNvSpPr>
          <p:nvPr/>
        </p:nvSpPr>
        <p:spPr>
          <a:xfrm>
            <a:off x="6848989" y="4154562"/>
            <a:ext cx="4813874" cy="340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defTabSz="877533" eaLnBrk="1" hangingPunct="1">
              <a:buClr>
                <a:schemeClr val="tx2"/>
              </a:buClr>
              <a:defRPr sz="1568">
                <a:latin typeface="+mn-lt"/>
              </a:defRPr>
            </a:lvl1pPr>
            <a:lvl2pPr marL="189821" lvl="1" indent="-188265" defTabSz="877533" eaLnBrk="1" hangingPunct="1">
              <a:buClr>
                <a:schemeClr val="tx2"/>
              </a:buClr>
              <a:buSzPct val="125000"/>
              <a:buFont typeface="Arial" charset="0"/>
              <a:buChar char="▪"/>
              <a:defRPr sz="1568">
                <a:latin typeface="+mn-lt"/>
              </a:defRPr>
            </a:lvl2pPr>
            <a:lvl3pPr marL="448102" lvl="2" indent="-256725" defTabSz="877533" eaLnBrk="1" hangingPunct="1">
              <a:buClr>
                <a:schemeClr val="tx2"/>
              </a:buClr>
              <a:buSzPct val="120000"/>
              <a:buFont typeface="Arial" charset="0"/>
              <a:buChar char="–"/>
              <a:defRPr sz="1568">
                <a:latin typeface="+mn-lt"/>
              </a:defRPr>
            </a:lvl3pPr>
            <a:lvl4pPr marL="602137" lvl="3" indent="-152479" defTabSz="877533" eaLnBrk="1" hangingPunct="1">
              <a:buClr>
                <a:schemeClr val="tx2"/>
              </a:buClr>
              <a:buSzPct val="120000"/>
              <a:buFont typeface="Arial" charset="0"/>
              <a:buChar char="▫"/>
              <a:defRPr sz="1568">
                <a:latin typeface="+mn-lt"/>
              </a:defRPr>
            </a:lvl4pPr>
            <a:lvl5pPr marL="731277" lvl="4" indent="-127585" defTabSz="877533" eaLnBrk="1" hangingPunct="1">
              <a:buClr>
                <a:schemeClr val="tx2"/>
              </a:buClr>
              <a:buSzPct val="89000"/>
              <a:buFont typeface="Arial" charset="0"/>
              <a:buChar char="-"/>
              <a:defRPr sz="1568">
                <a:latin typeface="+mn-lt"/>
              </a:defRPr>
            </a:lvl5pPr>
            <a:lvl6pPr marL="1179379" indent="-127585" defTabSz="877533" fontAlgn="base">
              <a:spcBef>
                <a:spcPct val="0"/>
              </a:spcBef>
              <a:spcAft>
                <a:spcPct val="0"/>
              </a:spcAft>
              <a:buClr>
                <a:schemeClr val="tx2"/>
              </a:buClr>
              <a:buSzPct val="89000"/>
              <a:buFont typeface="Arial" charset="0"/>
              <a:buChar char="-"/>
              <a:defRPr sz="1568">
                <a:latin typeface="+mn-lt"/>
              </a:defRPr>
            </a:lvl6pPr>
            <a:lvl7pPr marL="1627481" indent="-127585" defTabSz="877533" fontAlgn="base">
              <a:spcBef>
                <a:spcPct val="0"/>
              </a:spcBef>
              <a:spcAft>
                <a:spcPct val="0"/>
              </a:spcAft>
              <a:buClr>
                <a:schemeClr val="tx2"/>
              </a:buClr>
              <a:buSzPct val="89000"/>
              <a:buFont typeface="Arial" charset="0"/>
              <a:buChar char="-"/>
              <a:defRPr sz="1568">
                <a:latin typeface="+mn-lt"/>
              </a:defRPr>
            </a:lvl7pPr>
            <a:lvl8pPr marL="2075582" indent="-127585" defTabSz="877533" fontAlgn="base">
              <a:spcBef>
                <a:spcPct val="0"/>
              </a:spcBef>
              <a:spcAft>
                <a:spcPct val="0"/>
              </a:spcAft>
              <a:buClr>
                <a:schemeClr val="tx2"/>
              </a:buClr>
              <a:buSzPct val="89000"/>
              <a:buFont typeface="Arial" charset="0"/>
              <a:buChar char="-"/>
              <a:defRPr sz="1568">
                <a:latin typeface="+mn-lt"/>
              </a:defRPr>
            </a:lvl8pPr>
            <a:lvl9pPr marL="2523684" indent="-127585" defTabSz="877533" fontAlgn="base">
              <a:spcBef>
                <a:spcPct val="0"/>
              </a:spcBef>
              <a:spcAft>
                <a:spcPct val="0"/>
              </a:spcAft>
              <a:buClr>
                <a:schemeClr val="tx2"/>
              </a:buClr>
              <a:buSzPct val="89000"/>
              <a:buFont typeface="Arial" charset="0"/>
              <a:buChar char="-"/>
              <a:defRPr sz="1568">
                <a:latin typeface="+mn-lt"/>
              </a:defRPr>
            </a:lvl9pPr>
          </a:lstStyle>
          <a:p>
            <a:pPr marL="1588" lvl="1" indent="0">
              <a:spcBef>
                <a:spcPts val="918"/>
              </a:spcBef>
              <a:buNone/>
            </a:pPr>
            <a:r>
              <a:rPr lang="fr-FR" sz="1428" dirty="0"/>
              <a:t>650 courriers reçus par jour en mois d’octobre </a:t>
            </a:r>
          </a:p>
        </p:txBody>
      </p:sp>
      <p:grpSp>
        <p:nvGrpSpPr>
          <p:cNvPr id="22" name="Group 7">
            <a:extLst>
              <a:ext uri="{FF2B5EF4-FFF2-40B4-BE49-F238E27FC236}">
                <a16:creationId xmlns:a16="http://schemas.microsoft.com/office/drawing/2014/main" id="{F0F3F836-86A1-4048-B9B9-2A11419BE6F3}"/>
              </a:ext>
            </a:extLst>
          </p:cNvPr>
          <p:cNvGrpSpPr/>
          <p:nvPr/>
        </p:nvGrpSpPr>
        <p:grpSpPr>
          <a:xfrm>
            <a:off x="5394809" y="1769319"/>
            <a:ext cx="388632" cy="4689641"/>
            <a:chOff x="5181181" y="1713338"/>
            <a:chExt cx="380895" cy="4596282"/>
          </a:xfrm>
        </p:grpSpPr>
        <p:cxnSp>
          <p:nvCxnSpPr>
            <p:cNvPr id="23" name="LineBasicVerticalDefault 31">
              <a:extLst>
                <a:ext uri="{FF2B5EF4-FFF2-40B4-BE49-F238E27FC236}">
                  <a16:creationId xmlns:a16="http://schemas.microsoft.com/office/drawing/2014/main" id="{0A6F99A0-9CFE-44EE-90BF-2085560FDD89}"/>
                </a:ext>
              </a:extLst>
            </p:cNvPr>
            <p:cNvCxnSpPr>
              <a:cxnSpLocks/>
            </p:cNvCxnSpPr>
            <p:nvPr>
              <p:custDataLst>
                <p:tags r:id="rId1"/>
              </p:custDataLst>
            </p:nvPr>
          </p:nvCxnSpPr>
          <p:spPr>
            <a:xfrm>
              <a:off x="5371629" y="1713338"/>
              <a:ext cx="0" cy="4596282"/>
            </a:xfrm>
            <a:prstGeom prst="straightConnector1">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4" name="Group 44">
              <a:extLst>
                <a:ext uri="{FF2B5EF4-FFF2-40B4-BE49-F238E27FC236}">
                  <a16:creationId xmlns:a16="http://schemas.microsoft.com/office/drawing/2014/main" id="{D1042489-F742-4B23-8DD4-A01BD1DF6850}"/>
                </a:ext>
              </a:extLst>
            </p:cNvPr>
            <p:cNvGrpSpPr/>
            <p:nvPr/>
          </p:nvGrpSpPr>
          <p:grpSpPr>
            <a:xfrm flipV="1">
              <a:off x="5181181" y="3826814"/>
              <a:ext cx="380895" cy="369331"/>
              <a:chOff x="5381303" y="3432175"/>
              <a:chExt cx="193080" cy="253363"/>
            </a:xfrm>
            <a:solidFill>
              <a:schemeClr val="tx2"/>
            </a:solidFill>
          </p:grpSpPr>
          <p:sp>
            <p:nvSpPr>
              <p:cNvPr id="25" name="Chevron 125">
                <a:extLst>
                  <a:ext uri="{FF2B5EF4-FFF2-40B4-BE49-F238E27FC236}">
                    <a16:creationId xmlns:a16="http://schemas.microsoft.com/office/drawing/2014/main" id="{4ACCA875-250F-487A-95AD-C66F53CEECC5}"/>
                  </a:ext>
                </a:extLst>
              </p:cNvPr>
              <p:cNvSpPr/>
              <p:nvPr/>
            </p:nvSpPr>
            <p:spPr>
              <a:xfrm>
                <a:off x="5418865" y="3432175"/>
                <a:ext cx="155518" cy="253363"/>
              </a:xfrm>
              <a:prstGeom prst="chevron">
                <a:avLst>
                  <a:gd name="adj" fmla="val 43408"/>
                </a:avLst>
              </a:prstGeom>
              <a:grp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sz="1837" dirty="0"/>
              </a:p>
            </p:txBody>
          </p:sp>
          <p:sp>
            <p:nvSpPr>
              <p:cNvPr id="26" name="Chevron 127">
                <a:extLst>
                  <a:ext uri="{FF2B5EF4-FFF2-40B4-BE49-F238E27FC236}">
                    <a16:creationId xmlns:a16="http://schemas.microsoft.com/office/drawing/2014/main" id="{1848E6F2-A591-4533-8B30-02E8B18BE150}"/>
                  </a:ext>
                </a:extLst>
              </p:cNvPr>
              <p:cNvSpPr/>
              <p:nvPr/>
            </p:nvSpPr>
            <p:spPr>
              <a:xfrm>
                <a:off x="5381303" y="3484256"/>
                <a:ext cx="85075" cy="149200"/>
              </a:xfrm>
              <a:prstGeom prst="chevron">
                <a:avLst>
                  <a:gd name="adj" fmla="val 46728"/>
                </a:avLst>
              </a:prstGeom>
              <a:solidFill>
                <a:schemeClr val="accent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sz="1837" dirty="0"/>
              </a:p>
            </p:txBody>
          </p:sp>
        </p:grpSp>
      </p:grpSp>
      <p:pic>
        <p:nvPicPr>
          <p:cNvPr id="28" name="Graphique 27" descr="Tendance à la hausse">
            <a:extLst>
              <a:ext uri="{FF2B5EF4-FFF2-40B4-BE49-F238E27FC236}">
                <a16:creationId xmlns:a16="http://schemas.microsoft.com/office/drawing/2014/main" id="{0DBF97E6-75BE-4C77-9B34-DFE720A03D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40731" y="3942459"/>
            <a:ext cx="550968" cy="550968"/>
          </a:xfrm>
          <a:prstGeom prst="rect">
            <a:avLst/>
          </a:prstGeom>
        </p:spPr>
      </p:pic>
      <p:pic>
        <p:nvPicPr>
          <p:cNvPr id="30" name="Graphique 29">
            <a:extLst>
              <a:ext uri="{FF2B5EF4-FFF2-40B4-BE49-F238E27FC236}">
                <a16:creationId xmlns:a16="http://schemas.microsoft.com/office/drawing/2014/main" id="{14CEDC4F-FF0A-4091-BA19-ABAE31B564A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96000" y="4678980"/>
            <a:ext cx="477506" cy="477506"/>
          </a:xfrm>
          <a:prstGeom prst="rect">
            <a:avLst/>
          </a:prstGeom>
        </p:spPr>
      </p:pic>
      <p:sp>
        <p:nvSpPr>
          <p:cNvPr id="32" name="TextBox 6">
            <a:extLst>
              <a:ext uri="{FF2B5EF4-FFF2-40B4-BE49-F238E27FC236}">
                <a16:creationId xmlns:a16="http://schemas.microsoft.com/office/drawing/2014/main" id="{9F5D9195-FD3E-47DA-9DE1-7D889EEA31DA}"/>
              </a:ext>
            </a:extLst>
          </p:cNvPr>
          <p:cNvSpPr txBox="1">
            <a:spLocks/>
          </p:cNvSpPr>
          <p:nvPr/>
        </p:nvSpPr>
        <p:spPr>
          <a:xfrm>
            <a:off x="6591699" y="4816337"/>
            <a:ext cx="4431361" cy="340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defTabSz="877533" eaLnBrk="1" hangingPunct="1">
              <a:buClr>
                <a:schemeClr val="tx2"/>
              </a:buClr>
              <a:defRPr sz="1568">
                <a:latin typeface="+mn-lt"/>
              </a:defRPr>
            </a:lvl1pPr>
            <a:lvl2pPr marL="189821" lvl="1" indent="-188265" defTabSz="877533" eaLnBrk="1" hangingPunct="1">
              <a:buClr>
                <a:schemeClr val="tx2"/>
              </a:buClr>
              <a:buSzPct val="125000"/>
              <a:buFont typeface="Arial" charset="0"/>
              <a:buChar char="▪"/>
              <a:defRPr sz="1568">
                <a:latin typeface="+mn-lt"/>
              </a:defRPr>
            </a:lvl2pPr>
            <a:lvl3pPr marL="448102" lvl="2" indent="-256725" defTabSz="877533" eaLnBrk="1" hangingPunct="1">
              <a:buClr>
                <a:schemeClr val="tx2"/>
              </a:buClr>
              <a:buSzPct val="120000"/>
              <a:buFont typeface="Arial" charset="0"/>
              <a:buChar char="–"/>
              <a:defRPr sz="1568">
                <a:latin typeface="+mn-lt"/>
              </a:defRPr>
            </a:lvl3pPr>
            <a:lvl4pPr marL="602137" lvl="3" indent="-152479" defTabSz="877533" eaLnBrk="1" hangingPunct="1">
              <a:buClr>
                <a:schemeClr val="tx2"/>
              </a:buClr>
              <a:buSzPct val="120000"/>
              <a:buFont typeface="Arial" charset="0"/>
              <a:buChar char="▫"/>
              <a:defRPr sz="1568">
                <a:latin typeface="+mn-lt"/>
              </a:defRPr>
            </a:lvl4pPr>
            <a:lvl5pPr marL="731277" lvl="4" indent="-127585" defTabSz="877533" eaLnBrk="1" hangingPunct="1">
              <a:buClr>
                <a:schemeClr val="tx2"/>
              </a:buClr>
              <a:buSzPct val="89000"/>
              <a:buFont typeface="Arial" charset="0"/>
              <a:buChar char="-"/>
              <a:defRPr sz="1568">
                <a:latin typeface="+mn-lt"/>
              </a:defRPr>
            </a:lvl5pPr>
            <a:lvl6pPr marL="1179379" indent="-127585" defTabSz="877533" fontAlgn="base">
              <a:spcBef>
                <a:spcPct val="0"/>
              </a:spcBef>
              <a:spcAft>
                <a:spcPct val="0"/>
              </a:spcAft>
              <a:buClr>
                <a:schemeClr val="tx2"/>
              </a:buClr>
              <a:buSzPct val="89000"/>
              <a:buFont typeface="Arial" charset="0"/>
              <a:buChar char="-"/>
              <a:defRPr sz="1568">
                <a:latin typeface="+mn-lt"/>
              </a:defRPr>
            </a:lvl6pPr>
            <a:lvl7pPr marL="1627481" indent="-127585" defTabSz="877533" fontAlgn="base">
              <a:spcBef>
                <a:spcPct val="0"/>
              </a:spcBef>
              <a:spcAft>
                <a:spcPct val="0"/>
              </a:spcAft>
              <a:buClr>
                <a:schemeClr val="tx2"/>
              </a:buClr>
              <a:buSzPct val="89000"/>
              <a:buFont typeface="Arial" charset="0"/>
              <a:buChar char="-"/>
              <a:defRPr sz="1568">
                <a:latin typeface="+mn-lt"/>
              </a:defRPr>
            </a:lvl7pPr>
            <a:lvl8pPr marL="2075582" indent="-127585" defTabSz="877533" fontAlgn="base">
              <a:spcBef>
                <a:spcPct val="0"/>
              </a:spcBef>
              <a:spcAft>
                <a:spcPct val="0"/>
              </a:spcAft>
              <a:buClr>
                <a:schemeClr val="tx2"/>
              </a:buClr>
              <a:buSzPct val="89000"/>
              <a:buFont typeface="Arial" charset="0"/>
              <a:buChar char="-"/>
              <a:defRPr sz="1568">
                <a:latin typeface="+mn-lt"/>
              </a:defRPr>
            </a:lvl8pPr>
            <a:lvl9pPr marL="2523684" indent="-127585" defTabSz="877533" fontAlgn="base">
              <a:spcBef>
                <a:spcPct val="0"/>
              </a:spcBef>
              <a:spcAft>
                <a:spcPct val="0"/>
              </a:spcAft>
              <a:buClr>
                <a:schemeClr val="tx2"/>
              </a:buClr>
              <a:buSzPct val="89000"/>
              <a:buFont typeface="Arial" charset="0"/>
              <a:buChar char="-"/>
              <a:defRPr sz="1568">
                <a:latin typeface="+mn-lt"/>
              </a:defRPr>
            </a:lvl9pPr>
          </a:lstStyle>
          <a:p>
            <a:pPr marL="1588" lvl="1" indent="0" algn="ctr">
              <a:spcBef>
                <a:spcPts val="918"/>
              </a:spcBef>
              <a:buNone/>
            </a:pPr>
            <a:r>
              <a:rPr lang="fr-FR" sz="1428" dirty="0"/>
              <a:t>836 administrations adhérentes dont 281 CT</a:t>
            </a:r>
          </a:p>
        </p:txBody>
      </p:sp>
      <p:pic>
        <p:nvPicPr>
          <p:cNvPr id="34" name="Graphique 33" descr="Toque d'étudiant">
            <a:extLst>
              <a:ext uri="{FF2B5EF4-FFF2-40B4-BE49-F238E27FC236}">
                <a16:creationId xmlns:a16="http://schemas.microsoft.com/office/drawing/2014/main" id="{3CB20BAC-1F7F-44DF-8821-BE6685DFAC0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096000" y="5479395"/>
            <a:ext cx="565661" cy="565661"/>
          </a:xfrm>
          <a:prstGeom prst="rect">
            <a:avLst/>
          </a:prstGeom>
        </p:spPr>
      </p:pic>
      <p:sp>
        <p:nvSpPr>
          <p:cNvPr id="36" name="TextBox 6">
            <a:extLst>
              <a:ext uri="{FF2B5EF4-FFF2-40B4-BE49-F238E27FC236}">
                <a16:creationId xmlns:a16="http://schemas.microsoft.com/office/drawing/2014/main" id="{B10E8249-D7DF-444F-826F-15C4CCBCBD54}"/>
              </a:ext>
            </a:extLst>
          </p:cNvPr>
          <p:cNvSpPr txBox="1">
            <a:spLocks/>
          </p:cNvSpPr>
          <p:nvPr/>
        </p:nvSpPr>
        <p:spPr>
          <a:xfrm>
            <a:off x="6848989" y="5592125"/>
            <a:ext cx="4813874" cy="5656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defTabSz="877533" eaLnBrk="1" hangingPunct="1">
              <a:buClr>
                <a:schemeClr val="tx2"/>
              </a:buClr>
              <a:defRPr sz="1568">
                <a:latin typeface="+mn-lt"/>
              </a:defRPr>
            </a:lvl1pPr>
            <a:lvl2pPr marL="189821" lvl="1" indent="-188265" defTabSz="877533" eaLnBrk="1" hangingPunct="1">
              <a:buClr>
                <a:schemeClr val="tx2"/>
              </a:buClr>
              <a:buSzPct val="125000"/>
              <a:buFont typeface="Arial" charset="0"/>
              <a:buChar char="▪"/>
              <a:defRPr sz="1568">
                <a:latin typeface="+mn-lt"/>
              </a:defRPr>
            </a:lvl2pPr>
            <a:lvl3pPr marL="448102" lvl="2" indent="-256725" defTabSz="877533" eaLnBrk="1" hangingPunct="1">
              <a:buClr>
                <a:schemeClr val="tx2"/>
              </a:buClr>
              <a:buSzPct val="120000"/>
              <a:buFont typeface="Arial" charset="0"/>
              <a:buChar char="–"/>
              <a:defRPr sz="1568">
                <a:latin typeface="+mn-lt"/>
              </a:defRPr>
            </a:lvl3pPr>
            <a:lvl4pPr marL="602137" lvl="3" indent="-152479" defTabSz="877533" eaLnBrk="1" hangingPunct="1">
              <a:buClr>
                <a:schemeClr val="tx2"/>
              </a:buClr>
              <a:buSzPct val="120000"/>
              <a:buFont typeface="Arial" charset="0"/>
              <a:buChar char="▫"/>
              <a:defRPr sz="1568">
                <a:latin typeface="+mn-lt"/>
              </a:defRPr>
            </a:lvl4pPr>
            <a:lvl5pPr marL="731277" lvl="4" indent="-127585" defTabSz="877533" eaLnBrk="1" hangingPunct="1">
              <a:buClr>
                <a:schemeClr val="tx2"/>
              </a:buClr>
              <a:buSzPct val="89000"/>
              <a:buFont typeface="Arial" charset="0"/>
              <a:buChar char="-"/>
              <a:defRPr sz="1568">
                <a:latin typeface="+mn-lt"/>
              </a:defRPr>
            </a:lvl5pPr>
            <a:lvl6pPr marL="1179379" indent="-127585" defTabSz="877533" fontAlgn="base">
              <a:spcBef>
                <a:spcPct val="0"/>
              </a:spcBef>
              <a:spcAft>
                <a:spcPct val="0"/>
              </a:spcAft>
              <a:buClr>
                <a:schemeClr val="tx2"/>
              </a:buClr>
              <a:buSzPct val="89000"/>
              <a:buFont typeface="Arial" charset="0"/>
              <a:buChar char="-"/>
              <a:defRPr sz="1568">
                <a:latin typeface="+mn-lt"/>
              </a:defRPr>
            </a:lvl6pPr>
            <a:lvl7pPr marL="1627481" indent="-127585" defTabSz="877533" fontAlgn="base">
              <a:spcBef>
                <a:spcPct val="0"/>
              </a:spcBef>
              <a:spcAft>
                <a:spcPct val="0"/>
              </a:spcAft>
              <a:buClr>
                <a:schemeClr val="tx2"/>
              </a:buClr>
              <a:buSzPct val="89000"/>
              <a:buFont typeface="Arial" charset="0"/>
              <a:buChar char="-"/>
              <a:defRPr sz="1568">
                <a:latin typeface="+mn-lt"/>
              </a:defRPr>
            </a:lvl7pPr>
            <a:lvl8pPr marL="2075582" indent="-127585" defTabSz="877533" fontAlgn="base">
              <a:spcBef>
                <a:spcPct val="0"/>
              </a:spcBef>
              <a:spcAft>
                <a:spcPct val="0"/>
              </a:spcAft>
              <a:buClr>
                <a:schemeClr val="tx2"/>
              </a:buClr>
              <a:buSzPct val="89000"/>
              <a:buFont typeface="Arial" charset="0"/>
              <a:buChar char="-"/>
              <a:defRPr sz="1568">
                <a:latin typeface="+mn-lt"/>
              </a:defRPr>
            </a:lvl8pPr>
            <a:lvl9pPr marL="2523684" indent="-127585" defTabSz="877533" fontAlgn="base">
              <a:spcBef>
                <a:spcPct val="0"/>
              </a:spcBef>
              <a:spcAft>
                <a:spcPct val="0"/>
              </a:spcAft>
              <a:buClr>
                <a:schemeClr val="tx2"/>
              </a:buClr>
              <a:buSzPct val="89000"/>
              <a:buFont typeface="Arial" charset="0"/>
              <a:buChar char="-"/>
              <a:defRPr sz="1568">
                <a:latin typeface="+mn-lt"/>
              </a:defRPr>
            </a:lvl9pPr>
          </a:lstStyle>
          <a:p>
            <a:pPr marL="1588" lvl="1" indent="0">
              <a:spcBef>
                <a:spcPts val="918"/>
              </a:spcBef>
              <a:buNone/>
            </a:pPr>
            <a:r>
              <a:rPr lang="fr-FR" sz="1428" dirty="0"/>
              <a:t>600 Formations en ligne et ateliers avec un nombre moyen de participants qui dépasse 40 personnes par formation</a:t>
            </a:r>
          </a:p>
        </p:txBody>
      </p:sp>
      <p:sp>
        <p:nvSpPr>
          <p:cNvPr id="38" name="ZoneTexte 37">
            <a:extLst>
              <a:ext uri="{FF2B5EF4-FFF2-40B4-BE49-F238E27FC236}">
                <a16:creationId xmlns:a16="http://schemas.microsoft.com/office/drawing/2014/main" id="{4F9CD4FD-3230-4A88-8247-A63438FE9EC7}"/>
              </a:ext>
            </a:extLst>
          </p:cNvPr>
          <p:cNvSpPr txBox="1"/>
          <p:nvPr/>
        </p:nvSpPr>
        <p:spPr>
          <a:xfrm>
            <a:off x="372515" y="2110775"/>
            <a:ext cx="4392363" cy="385672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50000"/>
              </a:lnSpc>
              <a:spcAft>
                <a:spcPts val="816"/>
              </a:spcAft>
            </a:pPr>
            <a:r>
              <a:rPr lang="fr-FR" sz="1428" dirty="0"/>
              <a:t>Bureau d’ordre digital guichet unique de dépôt des courriers et d’échange inter-administrations des courrier   : L’objectif de cette plateforme est de créer des Bureaux d’ordre Digitaux pour l’ensemble des administrations et organismes publics en vue de :</a:t>
            </a:r>
          </a:p>
          <a:p>
            <a:pPr marL="349861" indent="-349861" algn="just">
              <a:lnSpc>
                <a:spcPct val="150000"/>
              </a:lnSpc>
              <a:buFont typeface="Symbol" panose="05050102010706020507" pitchFamily="18" charset="2"/>
              <a:buChar char=""/>
            </a:pPr>
            <a:r>
              <a:rPr lang="fr-FR" sz="1428" dirty="0"/>
              <a:t>Permettre aux citoyens, entreprises et administrations de déposer leurs courriers électroniquement ;</a:t>
            </a:r>
          </a:p>
          <a:p>
            <a:pPr marL="349861" indent="-349861" algn="just">
              <a:lnSpc>
                <a:spcPct val="150000"/>
              </a:lnSpc>
              <a:spcAft>
                <a:spcPts val="816"/>
              </a:spcAft>
              <a:buFont typeface="Symbol" panose="05050102010706020507" pitchFamily="18" charset="2"/>
              <a:buChar char=""/>
            </a:pPr>
            <a:r>
              <a:rPr lang="fr-FR" sz="1428" dirty="0"/>
              <a:t>Permettre aux administrations de gérer électroniquement les flux des courriers entrants et sortants.</a:t>
            </a:r>
          </a:p>
        </p:txBody>
      </p:sp>
      <p:graphicFrame>
        <p:nvGraphicFramePr>
          <p:cNvPr id="5" name="Graphique 4">
            <a:extLst>
              <a:ext uri="{FF2B5EF4-FFF2-40B4-BE49-F238E27FC236}">
                <a16:creationId xmlns:a16="http://schemas.microsoft.com/office/drawing/2014/main" id="{B43BA71A-748A-435A-814F-EE9C37924AD0}"/>
              </a:ext>
            </a:extLst>
          </p:cNvPr>
          <p:cNvGraphicFramePr>
            <a:graphicFrameLocks/>
          </p:cNvGraphicFramePr>
          <p:nvPr>
            <p:extLst>
              <p:ext uri="{D42A27DB-BD31-4B8C-83A1-F6EECF244321}">
                <p14:modId xmlns:p14="http://schemas.microsoft.com/office/powerpoint/2010/main" val="295400521"/>
              </p:ext>
            </p:extLst>
          </p:nvPr>
        </p:nvGraphicFramePr>
        <p:xfrm>
          <a:off x="5707839" y="1599371"/>
          <a:ext cx="5696201" cy="2555191"/>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046642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75A0AE-CA22-464B-9E21-E0339F317502}"/>
              </a:ext>
            </a:extLst>
          </p:cNvPr>
          <p:cNvSpPr>
            <a:spLocks noGrp="1"/>
          </p:cNvSpPr>
          <p:nvPr>
            <p:ph type="title"/>
          </p:nvPr>
        </p:nvSpPr>
        <p:spPr/>
        <p:txBody>
          <a:bodyPr/>
          <a:lstStyle/>
          <a:p>
            <a:r>
              <a:rPr lang="fr-FR" dirty="0"/>
              <a:t>Parapheur électronique</a:t>
            </a:r>
            <a:endParaRPr lang="fr-MA" dirty="0"/>
          </a:p>
        </p:txBody>
      </p:sp>
      <p:sp>
        <p:nvSpPr>
          <p:cNvPr id="3" name="TextBox 10">
            <a:extLst>
              <a:ext uri="{FF2B5EF4-FFF2-40B4-BE49-F238E27FC236}">
                <a16:creationId xmlns:a16="http://schemas.microsoft.com/office/drawing/2014/main" id="{6702B698-1087-4051-92C3-F8232E200131}"/>
              </a:ext>
            </a:extLst>
          </p:cNvPr>
          <p:cNvSpPr txBox="1"/>
          <p:nvPr/>
        </p:nvSpPr>
        <p:spPr>
          <a:xfrm>
            <a:off x="168026" y="1194205"/>
            <a:ext cx="4086668" cy="2884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837" b="1" dirty="0">
                <a:solidFill>
                  <a:schemeClr val="accent4"/>
                </a:solidFill>
              </a:rPr>
              <a:t>Cible : Administrations</a:t>
            </a:r>
          </a:p>
        </p:txBody>
      </p:sp>
      <p:cxnSp>
        <p:nvCxnSpPr>
          <p:cNvPr id="4" name="Straight Connector 66">
            <a:extLst>
              <a:ext uri="{FF2B5EF4-FFF2-40B4-BE49-F238E27FC236}">
                <a16:creationId xmlns:a16="http://schemas.microsoft.com/office/drawing/2014/main" id="{F39F1568-AC0C-4A9F-843A-A9402FEF7AA1}"/>
              </a:ext>
            </a:extLst>
          </p:cNvPr>
          <p:cNvCxnSpPr>
            <a:cxnSpLocks/>
          </p:cNvCxnSpPr>
          <p:nvPr/>
        </p:nvCxnSpPr>
        <p:spPr>
          <a:xfrm>
            <a:off x="168026" y="1558778"/>
            <a:ext cx="1174541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5D21F152-AE7B-48DE-8F84-5B8DF4CD3634}"/>
              </a:ext>
            </a:extLst>
          </p:cNvPr>
          <p:cNvGrpSpPr/>
          <p:nvPr/>
        </p:nvGrpSpPr>
        <p:grpSpPr>
          <a:xfrm>
            <a:off x="5394809" y="1769319"/>
            <a:ext cx="388632" cy="4689641"/>
            <a:chOff x="5181181" y="1713338"/>
            <a:chExt cx="380895" cy="4596282"/>
          </a:xfrm>
        </p:grpSpPr>
        <p:cxnSp>
          <p:nvCxnSpPr>
            <p:cNvPr id="9" name="LineBasicVerticalDefault 31">
              <a:extLst>
                <a:ext uri="{FF2B5EF4-FFF2-40B4-BE49-F238E27FC236}">
                  <a16:creationId xmlns:a16="http://schemas.microsoft.com/office/drawing/2014/main" id="{3EF2D82B-575E-4355-89CC-33C66632BE93}"/>
                </a:ext>
              </a:extLst>
            </p:cNvPr>
            <p:cNvCxnSpPr>
              <a:cxnSpLocks/>
            </p:cNvCxnSpPr>
            <p:nvPr>
              <p:custDataLst>
                <p:tags r:id="rId1"/>
              </p:custDataLst>
            </p:nvPr>
          </p:nvCxnSpPr>
          <p:spPr>
            <a:xfrm>
              <a:off x="5371629" y="1713338"/>
              <a:ext cx="0" cy="4596282"/>
            </a:xfrm>
            <a:prstGeom prst="straightConnector1">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0" name="Group 44">
              <a:extLst>
                <a:ext uri="{FF2B5EF4-FFF2-40B4-BE49-F238E27FC236}">
                  <a16:creationId xmlns:a16="http://schemas.microsoft.com/office/drawing/2014/main" id="{4426AC38-6871-43B6-851B-41FD7F011B73}"/>
                </a:ext>
              </a:extLst>
            </p:cNvPr>
            <p:cNvGrpSpPr/>
            <p:nvPr/>
          </p:nvGrpSpPr>
          <p:grpSpPr>
            <a:xfrm flipV="1">
              <a:off x="5181181" y="3826814"/>
              <a:ext cx="380895" cy="369331"/>
              <a:chOff x="5381303" y="3432175"/>
              <a:chExt cx="193080" cy="253363"/>
            </a:xfrm>
            <a:solidFill>
              <a:schemeClr val="tx2"/>
            </a:solidFill>
          </p:grpSpPr>
          <p:sp>
            <p:nvSpPr>
              <p:cNvPr id="11" name="Chevron 125">
                <a:extLst>
                  <a:ext uri="{FF2B5EF4-FFF2-40B4-BE49-F238E27FC236}">
                    <a16:creationId xmlns:a16="http://schemas.microsoft.com/office/drawing/2014/main" id="{729D6528-F8B0-4CB2-B0AC-8FAF2179DBEA}"/>
                  </a:ext>
                </a:extLst>
              </p:cNvPr>
              <p:cNvSpPr/>
              <p:nvPr/>
            </p:nvSpPr>
            <p:spPr>
              <a:xfrm>
                <a:off x="5418865" y="3432175"/>
                <a:ext cx="155518" cy="253363"/>
              </a:xfrm>
              <a:prstGeom prst="chevron">
                <a:avLst>
                  <a:gd name="adj" fmla="val 43408"/>
                </a:avLst>
              </a:prstGeom>
              <a:grp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sz="1837" dirty="0"/>
              </a:p>
            </p:txBody>
          </p:sp>
          <p:sp>
            <p:nvSpPr>
              <p:cNvPr id="12" name="Chevron 127">
                <a:extLst>
                  <a:ext uri="{FF2B5EF4-FFF2-40B4-BE49-F238E27FC236}">
                    <a16:creationId xmlns:a16="http://schemas.microsoft.com/office/drawing/2014/main" id="{1634EF8E-AF83-42C8-B106-4466A7852716}"/>
                  </a:ext>
                </a:extLst>
              </p:cNvPr>
              <p:cNvSpPr/>
              <p:nvPr/>
            </p:nvSpPr>
            <p:spPr>
              <a:xfrm>
                <a:off x="5381303" y="3484256"/>
                <a:ext cx="85075" cy="149200"/>
              </a:xfrm>
              <a:prstGeom prst="chevron">
                <a:avLst>
                  <a:gd name="adj" fmla="val 46728"/>
                </a:avLst>
              </a:prstGeom>
              <a:solidFill>
                <a:schemeClr val="accent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sz="1837" dirty="0"/>
              </a:p>
            </p:txBody>
          </p:sp>
        </p:grpSp>
      </p:grpSp>
      <p:sp>
        <p:nvSpPr>
          <p:cNvPr id="14" name="TextBox 6">
            <a:extLst>
              <a:ext uri="{FF2B5EF4-FFF2-40B4-BE49-F238E27FC236}">
                <a16:creationId xmlns:a16="http://schemas.microsoft.com/office/drawing/2014/main" id="{146CE075-3FF3-406E-A3F2-BC541AF6E92B}"/>
              </a:ext>
            </a:extLst>
          </p:cNvPr>
          <p:cNvSpPr txBox="1">
            <a:spLocks/>
          </p:cNvSpPr>
          <p:nvPr/>
        </p:nvSpPr>
        <p:spPr>
          <a:xfrm>
            <a:off x="6334753" y="4132457"/>
            <a:ext cx="4813874" cy="340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defTabSz="877533" eaLnBrk="1" hangingPunct="1">
              <a:buClr>
                <a:schemeClr val="tx2"/>
              </a:buClr>
              <a:defRPr sz="1568">
                <a:latin typeface="+mn-lt"/>
              </a:defRPr>
            </a:lvl1pPr>
            <a:lvl2pPr marL="189821" lvl="1" indent="-188265" defTabSz="877533" eaLnBrk="1" hangingPunct="1">
              <a:buClr>
                <a:schemeClr val="tx2"/>
              </a:buClr>
              <a:buSzPct val="125000"/>
              <a:buFont typeface="Arial" charset="0"/>
              <a:buChar char="▪"/>
              <a:defRPr sz="1568">
                <a:latin typeface="+mn-lt"/>
              </a:defRPr>
            </a:lvl2pPr>
            <a:lvl3pPr marL="448102" lvl="2" indent="-256725" defTabSz="877533" eaLnBrk="1" hangingPunct="1">
              <a:buClr>
                <a:schemeClr val="tx2"/>
              </a:buClr>
              <a:buSzPct val="120000"/>
              <a:buFont typeface="Arial" charset="0"/>
              <a:buChar char="–"/>
              <a:defRPr sz="1568">
                <a:latin typeface="+mn-lt"/>
              </a:defRPr>
            </a:lvl3pPr>
            <a:lvl4pPr marL="602137" lvl="3" indent="-152479" defTabSz="877533" eaLnBrk="1" hangingPunct="1">
              <a:buClr>
                <a:schemeClr val="tx2"/>
              </a:buClr>
              <a:buSzPct val="120000"/>
              <a:buFont typeface="Arial" charset="0"/>
              <a:buChar char="▫"/>
              <a:defRPr sz="1568">
                <a:latin typeface="+mn-lt"/>
              </a:defRPr>
            </a:lvl4pPr>
            <a:lvl5pPr marL="731277" lvl="4" indent="-127585" defTabSz="877533" eaLnBrk="1" hangingPunct="1">
              <a:buClr>
                <a:schemeClr val="tx2"/>
              </a:buClr>
              <a:buSzPct val="89000"/>
              <a:buFont typeface="Arial" charset="0"/>
              <a:buChar char="-"/>
              <a:defRPr sz="1568">
                <a:latin typeface="+mn-lt"/>
              </a:defRPr>
            </a:lvl5pPr>
            <a:lvl6pPr marL="1179379" indent="-127585" defTabSz="877533" fontAlgn="base">
              <a:spcBef>
                <a:spcPct val="0"/>
              </a:spcBef>
              <a:spcAft>
                <a:spcPct val="0"/>
              </a:spcAft>
              <a:buClr>
                <a:schemeClr val="tx2"/>
              </a:buClr>
              <a:buSzPct val="89000"/>
              <a:buFont typeface="Arial" charset="0"/>
              <a:buChar char="-"/>
              <a:defRPr sz="1568">
                <a:latin typeface="+mn-lt"/>
              </a:defRPr>
            </a:lvl6pPr>
            <a:lvl7pPr marL="1627481" indent="-127585" defTabSz="877533" fontAlgn="base">
              <a:spcBef>
                <a:spcPct val="0"/>
              </a:spcBef>
              <a:spcAft>
                <a:spcPct val="0"/>
              </a:spcAft>
              <a:buClr>
                <a:schemeClr val="tx2"/>
              </a:buClr>
              <a:buSzPct val="89000"/>
              <a:buFont typeface="Arial" charset="0"/>
              <a:buChar char="-"/>
              <a:defRPr sz="1568">
                <a:latin typeface="+mn-lt"/>
              </a:defRPr>
            </a:lvl7pPr>
            <a:lvl8pPr marL="2075582" indent="-127585" defTabSz="877533" fontAlgn="base">
              <a:spcBef>
                <a:spcPct val="0"/>
              </a:spcBef>
              <a:spcAft>
                <a:spcPct val="0"/>
              </a:spcAft>
              <a:buClr>
                <a:schemeClr val="tx2"/>
              </a:buClr>
              <a:buSzPct val="89000"/>
              <a:buFont typeface="Arial" charset="0"/>
              <a:buChar char="-"/>
              <a:defRPr sz="1568">
                <a:latin typeface="+mn-lt"/>
              </a:defRPr>
            </a:lvl8pPr>
            <a:lvl9pPr marL="2523684" indent="-127585" defTabSz="877533" fontAlgn="base">
              <a:spcBef>
                <a:spcPct val="0"/>
              </a:spcBef>
              <a:spcAft>
                <a:spcPct val="0"/>
              </a:spcAft>
              <a:buClr>
                <a:schemeClr val="tx2"/>
              </a:buClr>
              <a:buSzPct val="89000"/>
              <a:buFont typeface="Arial" charset="0"/>
              <a:buChar char="-"/>
              <a:defRPr sz="1568">
                <a:latin typeface="+mn-lt"/>
              </a:defRPr>
            </a:lvl9pPr>
          </a:lstStyle>
          <a:p>
            <a:pPr marL="1588" lvl="1" indent="0" algn="ctr">
              <a:spcBef>
                <a:spcPts val="918"/>
              </a:spcBef>
              <a:buNone/>
            </a:pPr>
            <a:r>
              <a:rPr lang="fr-FR" sz="1428" dirty="0"/>
              <a:t>2000 courrier traités par jour en mois d’octobre</a:t>
            </a:r>
          </a:p>
        </p:txBody>
      </p:sp>
      <p:pic>
        <p:nvPicPr>
          <p:cNvPr id="16" name="Graphique 15" descr="Tendance à la hausse">
            <a:extLst>
              <a:ext uri="{FF2B5EF4-FFF2-40B4-BE49-F238E27FC236}">
                <a16:creationId xmlns:a16="http://schemas.microsoft.com/office/drawing/2014/main" id="{A2529580-3BEA-4013-B971-DC4C3444063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40731" y="3942459"/>
            <a:ext cx="550968" cy="550968"/>
          </a:xfrm>
          <a:prstGeom prst="rect">
            <a:avLst/>
          </a:prstGeom>
        </p:spPr>
      </p:pic>
      <p:pic>
        <p:nvPicPr>
          <p:cNvPr id="18" name="Graphique 17">
            <a:extLst>
              <a:ext uri="{FF2B5EF4-FFF2-40B4-BE49-F238E27FC236}">
                <a16:creationId xmlns:a16="http://schemas.microsoft.com/office/drawing/2014/main" id="{143501C6-2B99-41A6-9E4F-223E7AE97F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96000" y="4678980"/>
            <a:ext cx="477506" cy="477506"/>
          </a:xfrm>
          <a:prstGeom prst="rect">
            <a:avLst/>
          </a:prstGeom>
        </p:spPr>
      </p:pic>
      <p:pic>
        <p:nvPicPr>
          <p:cNvPr id="22" name="Graphique 21" descr="Toque d'étudiant">
            <a:extLst>
              <a:ext uri="{FF2B5EF4-FFF2-40B4-BE49-F238E27FC236}">
                <a16:creationId xmlns:a16="http://schemas.microsoft.com/office/drawing/2014/main" id="{BFAE5BE6-CC1F-4F75-9E93-9916385CBA3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096000" y="5479395"/>
            <a:ext cx="565661" cy="565661"/>
          </a:xfrm>
          <a:prstGeom prst="rect">
            <a:avLst/>
          </a:prstGeom>
        </p:spPr>
      </p:pic>
      <p:sp>
        <p:nvSpPr>
          <p:cNvPr id="24" name="TextBox 6">
            <a:extLst>
              <a:ext uri="{FF2B5EF4-FFF2-40B4-BE49-F238E27FC236}">
                <a16:creationId xmlns:a16="http://schemas.microsoft.com/office/drawing/2014/main" id="{4E01589B-B05E-4392-99F5-3AE626112E1D}"/>
              </a:ext>
            </a:extLst>
          </p:cNvPr>
          <p:cNvSpPr txBox="1">
            <a:spLocks/>
          </p:cNvSpPr>
          <p:nvPr/>
        </p:nvSpPr>
        <p:spPr>
          <a:xfrm>
            <a:off x="6848989" y="5592125"/>
            <a:ext cx="4813874" cy="5656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defTabSz="877533" eaLnBrk="1" hangingPunct="1">
              <a:buClr>
                <a:schemeClr val="tx2"/>
              </a:buClr>
              <a:defRPr sz="1568">
                <a:latin typeface="+mn-lt"/>
              </a:defRPr>
            </a:lvl1pPr>
            <a:lvl2pPr marL="189821" lvl="1" indent="-188265" defTabSz="877533" eaLnBrk="1" hangingPunct="1">
              <a:buClr>
                <a:schemeClr val="tx2"/>
              </a:buClr>
              <a:buSzPct val="125000"/>
              <a:buFont typeface="Arial" charset="0"/>
              <a:buChar char="▪"/>
              <a:defRPr sz="1568">
                <a:latin typeface="+mn-lt"/>
              </a:defRPr>
            </a:lvl2pPr>
            <a:lvl3pPr marL="448102" lvl="2" indent="-256725" defTabSz="877533" eaLnBrk="1" hangingPunct="1">
              <a:buClr>
                <a:schemeClr val="tx2"/>
              </a:buClr>
              <a:buSzPct val="120000"/>
              <a:buFont typeface="Arial" charset="0"/>
              <a:buChar char="–"/>
              <a:defRPr sz="1568">
                <a:latin typeface="+mn-lt"/>
              </a:defRPr>
            </a:lvl3pPr>
            <a:lvl4pPr marL="602137" lvl="3" indent="-152479" defTabSz="877533" eaLnBrk="1" hangingPunct="1">
              <a:buClr>
                <a:schemeClr val="tx2"/>
              </a:buClr>
              <a:buSzPct val="120000"/>
              <a:buFont typeface="Arial" charset="0"/>
              <a:buChar char="▫"/>
              <a:defRPr sz="1568">
                <a:latin typeface="+mn-lt"/>
              </a:defRPr>
            </a:lvl4pPr>
            <a:lvl5pPr marL="731277" lvl="4" indent="-127585" defTabSz="877533" eaLnBrk="1" hangingPunct="1">
              <a:buClr>
                <a:schemeClr val="tx2"/>
              </a:buClr>
              <a:buSzPct val="89000"/>
              <a:buFont typeface="Arial" charset="0"/>
              <a:buChar char="-"/>
              <a:defRPr sz="1568">
                <a:latin typeface="+mn-lt"/>
              </a:defRPr>
            </a:lvl5pPr>
            <a:lvl6pPr marL="1179379" indent="-127585" defTabSz="877533" fontAlgn="base">
              <a:spcBef>
                <a:spcPct val="0"/>
              </a:spcBef>
              <a:spcAft>
                <a:spcPct val="0"/>
              </a:spcAft>
              <a:buClr>
                <a:schemeClr val="tx2"/>
              </a:buClr>
              <a:buSzPct val="89000"/>
              <a:buFont typeface="Arial" charset="0"/>
              <a:buChar char="-"/>
              <a:defRPr sz="1568">
                <a:latin typeface="+mn-lt"/>
              </a:defRPr>
            </a:lvl6pPr>
            <a:lvl7pPr marL="1627481" indent="-127585" defTabSz="877533" fontAlgn="base">
              <a:spcBef>
                <a:spcPct val="0"/>
              </a:spcBef>
              <a:spcAft>
                <a:spcPct val="0"/>
              </a:spcAft>
              <a:buClr>
                <a:schemeClr val="tx2"/>
              </a:buClr>
              <a:buSzPct val="89000"/>
              <a:buFont typeface="Arial" charset="0"/>
              <a:buChar char="-"/>
              <a:defRPr sz="1568">
                <a:latin typeface="+mn-lt"/>
              </a:defRPr>
            </a:lvl7pPr>
            <a:lvl8pPr marL="2075582" indent="-127585" defTabSz="877533" fontAlgn="base">
              <a:spcBef>
                <a:spcPct val="0"/>
              </a:spcBef>
              <a:spcAft>
                <a:spcPct val="0"/>
              </a:spcAft>
              <a:buClr>
                <a:schemeClr val="tx2"/>
              </a:buClr>
              <a:buSzPct val="89000"/>
              <a:buFont typeface="Arial" charset="0"/>
              <a:buChar char="-"/>
              <a:defRPr sz="1568">
                <a:latin typeface="+mn-lt"/>
              </a:defRPr>
            </a:lvl8pPr>
            <a:lvl9pPr marL="2523684" indent="-127585" defTabSz="877533" fontAlgn="base">
              <a:spcBef>
                <a:spcPct val="0"/>
              </a:spcBef>
              <a:spcAft>
                <a:spcPct val="0"/>
              </a:spcAft>
              <a:buClr>
                <a:schemeClr val="tx2"/>
              </a:buClr>
              <a:buSzPct val="89000"/>
              <a:buFont typeface="Arial" charset="0"/>
              <a:buChar char="-"/>
              <a:defRPr sz="1568">
                <a:latin typeface="+mn-lt"/>
              </a:defRPr>
            </a:lvl9pPr>
          </a:lstStyle>
          <a:p>
            <a:pPr marL="1588" lvl="1" indent="0">
              <a:spcBef>
                <a:spcPts val="918"/>
              </a:spcBef>
              <a:buNone/>
            </a:pPr>
            <a:r>
              <a:rPr lang="fr-FR" sz="1428" dirty="0"/>
              <a:t>600 Formations en ligne et ateliers avec un nombre moyen de participants qui dépasse 40 personnes par formation</a:t>
            </a:r>
          </a:p>
        </p:txBody>
      </p:sp>
      <p:sp>
        <p:nvSpPr>
          <p:cNvPr id="26" name="ZoneTexte 25">
            <a:extLst>
              <a:ext uri="{FF2B5EF4-FFF2-40B4-BE49-F238E27FC236}">
                <a16:creationId xmlns:a16="http://schemas.microsoft.com/office/drawing/2014/main" id="{952F0749-3C41-4D7A-95DF-219766BB59F5}"/>
              </a:ext>
            </a:extLst>
          </p:cNvPr>
          <p:cNvSpPr txBox="1"/>
          <p:nvPr/>
        </p:nvSpPr>
        <p:spPr>
          <a:xfrm>
            <a:off x="433537" y="1911848"/>
            <a:ext cx="4459986" cy="37799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50000"/>
              </a:lnSpc>
              <a:spcAft>
                <a:spcPts val="816"/>
              </a:spcAft>
            </a:pPr>
            <a:r>
              <a:rPr lang="fr-FR" sz="1428" dirty="0"/>
              <a:t>Parapheur Electronique permet la dématérialisation du processus de traitement du courrier au sein d’une administration donnée. Aussi il intègre des fonctionnalités nécessaires au traitement des dossiers des citoyens et les entreprises, à savoir : </a:t>
            </a:r>
          </a:p>
          <a:p>
            <a:pPr marL="349861" indent="-349861" algn="just">
              <a:lnSpc>
                <a:spcPct val="150000"/>
              </a:lnSpc>
              <a:buFont typeface="Symbol" panose="05050102010706020507" pitchFamily="18" charset="2"/>
              <a:buChar char=""/>
            </a:pPr>
            <a:r>
              <a:rPr lang="fr-FR" sz="1428" dirty="0"/>
              <a:t>La gestion du courrier entrant, sortant et l’échange des documents internes d’une administration; </a:t>
            </a:r>
          </a:p>
          <a:p>
            <a:pPr marL="349861" indent="-349861" algn="just">
              <a:lnSpc>
                <a:spcPct val="150000"/>
              </a:lnSpc>
              <a:buFont typeface="Symbol" panose="05050102010706020507" pitchFamily="18" charset="2"/>
              <a:buChar char=""/>
            </a:pPr>
            <a:r>
              <a:rPr lang="fr-FR" sz="1428" dirty="0"/>
              <a:t>La dématérialisation des processus interne de l’administration ;</a:t>
            </a:r>
          </a:p>
          <a:p>
            <a:pPr marL="349861" indent="-349861" algn="just">
              <a:lnSpc>
                <a:spcPct val="150000"/>
              </a:lnSpc>
              <a:buFont typeface="Symbol" panose="05050102010706020507" pitchFamily="18" charset="2"/>
              <a:buChar char=""/>
            </a:pPr>
            <a:r>
              <a:rPr lang="fr-FR" sz="1428" dirty="0"/>
              <a:t>L’échange des courriers inter-administrations ;</a:t>
            </a:r>
          </a:p>
          <a:p>
            <a:pPr marL="349861" indent="-349861" algn="just">
              <a:lnSpc>
                <a:spcPct val="150000"/>
              </a:lnSpc>
              <a:spcAft>
                <a:spcPts val="816"/>
              </a:spcAft>
              <a:buFont typeface="Symbol" panose="05050102010706020507" pitchFamily="18" charset="2"/>
              <a:buChar char=""/>
            </a:pPr>
            <a:r>
              <a:rPr lang="fr-FR" sz="1428" dirty="0"/>
              <a:t>La signature électronique des documents ;</a:t>
            </a:r>
          </a:p>
        </p:txBody>
      </p:sp>
      <p:graphicFrame>
        <p:nvGraphicFramePr>
          <p:cNvPr id="5" name="Graphique 4">
            <a:extLst>
              <a:ext uri="{FF2B5EF4-FFF2-40B4-BE49-F238E27FC236}">
                <a16:creationId xmlns:a16="http://schemas.microsoft.com/office/drawing/2014/main" id="{36A28565-34DC-4116-8889-C65578BCF17A}"/>
              </a:ext>
            </a:extLst>
          </p:cNvPr>
          <p:cNvGraphicFramePr>
            <a:graphicFrameLocks/>
          </p:cNvGraphicFramePr>
          <p:nvPr>
            <p:extLst>
              <p:ext uri="{D42A27DB-BD31-4B8C-83A1-F6EECF244321}">
                <p14:modId xmlns:p14="http://schemas.microsoft.com/office/powerpoint/2010/main" val="4097842237"/>
              </p:ext>
            </p:extLst>
          </p:nvPr>
        </p:nvGraphicFramePr>
        <p:xfrm>
          <a:off x="5783441" y="1446817"/>
          <a:ext cx="6248707" cy="2556367"/>
        </p:xfrm>
        <a:graphic>
          <a:graphicData uri="http://schemas.openxmlformats.org/drawingml/2006/chart">
            <c:chart xmlns:c="http://schemas.openxmlformats.org/drawingml/2006/chart" xmlns:r="http://schemas.openxmlformats.org/officeDocument/2006/relationships" r:id="rId9"/>
          </a:graphicData>
        </a:graphic>
      </p:graphicFrame>
      <p:sp>
        <p:nvSpPr>
          <p:cNvPr id="6" name="TextBox 6">
            <a:extLst>
              <a:ext uri="{FF2B5EF4-FFF2-40B4-BE49-F238E27FC236}">
                <a16:creationId xmlns:a16="http://schemas.microsoft.com/office/drawing/2014/main" id="{B0060667-8EEA-4946-94B8-7AA126E2B551}"/>
              </a:ext>
            </a:extLst>
          </p:cNvPr>
          <p:cNvSpPr txBox="1">
            <a:spLocks/>
          </p:cNvSpPr>
          <p:nvPr/>
        </p:nvSpPr>
        <p:spPr>
          <a:xfrm>
            <a:off x="6591699" y="4816337"/>
            <a:ext cx="4431361" cy="340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defTabSz="877533" eaLnBrk="1" hangingPunct="1">
              <a:buClr>
                <a:schemeClr val="tx2"/>
              </a:buClr>
              <a:defRPr sz="1568">
                <a:latin typeface="+mn-lt"/>
              </a:defRPr>
            </a:lvl1pPr>
            <a:lvl2pPr marL="189821" lvl="1" indent="-188265" defTabSz="877533" eaLnBrk="1" hangingPunct="1">
              <a:buClr>
                <a:schemeClr val="tx2"/>
              </a:buClr>
              <a:buSzPct val="125000"/>
              <a:buFont typeface="Arial" charset="0"/>
              <a:buChar char="▪"/>
              <a:defRPr sz="1568">
                <a:latin typeface="+mn-lt"/>
              </a:defRPr>
            </a:lvl2pPr>
            <a:lvl3pPr marL="448102" lvl="2" indent="-256725" defTabSz="877533" eaLnBrk="1" hangingPunct="1">
              <a:buClr>
                <a:schemeClr val="tx2"/>
              </a:buClr>
              <a:buSzPct val="120000"/>
              <a:buFont typeface="Arial" charset="0"/>
              <a:buChar char="–"/>
              <a:defRPr sz="1568">
                <a:latin typeface="+mn-lt"/>
              </a:defRPr>
            </a:lvl3pPr>
            <a:lvl4pPr marL="602137" lvl="3" indent="-152479" defTabSz="877533" eaLnBrk="1" hangingPunct="1">
              <a:buClr>
                <a:schemeClr val="tx2"/>
              </a:buClr>
              <a:buSzPct val="120000"/>
              <a:buFont typeface="Arial" charset="0"/>
              <a:buChar char="▫"/>
              <a:defRPr sz="1568">
                <a:latin typeface="+mn-lt"/>
              </a:defRPr>
            </a:lvl4pPr>
            <a:lvl5pPr marL="731277" lvl="4" indent="-127585" defTabSz="877533" eaLnBrk="1" hangingPunct="1">
              <a:buClr>
                <a:schemeClr val="tx2"/>
              </a:buClr>
              <a:buSzPct val="89000"/>
              <a:buFont typeface="Arial" charset="0"/>
              <a:buChar char="-"/>
              <a:defRPr sz="1568">
                <a:latin typeface="+mn-lt"/>
              </a:defRPr>
            </a:lvl5pPr>
            <a:lvl6pPr marL="1179379" indent="-127585" defTabSz="877533" fontAlgn="base">
              <a:spcBef>
                <a:spcPct val="0"/>
              </a:spcBef>
              <a:spcAft>
                <a:spcPct val="0"/>
              </a:spcAft>
              <a:buClr>
                <a:schemeClr val="tx2"/>
              </a:buClr>
              <a:buSzPct val="89000"/>
              <a:buFont typeface="Arial" charset="0"/>
              <a:buChar char="-"/>
              <a:defRPr sz="1568">
                <a:latin typeface="+mn-lt"/>
              </a:defRPr>
            </a:lvl6pPr>
            <a:lvl7pPr marL="1627481" indent="-127585" defTabSz="877533" fontAlgn="base">
              <a:spcBef>
                <a:spcPct val="0"/>
              </a:spcBef>
              <a:spcAft>
                <a:spcPct val="0"/>
              </a:spcAft>
              <a:buClr>
                <a:schemeClr val="tx2"/>
              </a:buClr>
              <a:buSzPct val="89000"/>
              <a:buFont typeface="Arial" charset="0"/>
              <a:buChar char="-"/>
              <a:defRPr sz="1568">
                <a:latin typeface="+mn-lt"/>
              </a:defRPr>
            </a:lvl7pPr>
            <a:lvl8pPr marL="2075582" indent="-127585" defTabSz="877533" fontAlgn="base">
              <a:spcBef>
                <a:spcPct val="0"/>
              </a:spcBef>
              <a:spcAft>
                <a:spcPct val="0"/>
              </a:spcAft>
              <a:buClr>
                <a:schemeClr val="tx2"/>
              </a:buClr>
              <a:buSzPct val="89000"/>
              <a:buFont typeface="Arial" charset="0"/>
              <a:buChar char="-"/>
              <a:defRPr sz="1568">
                <a:latin typeface="+mn-lt"/>
              </a:defRPr>
            </a:lvl8pPr>
            <a:lvl9pPr marL="2523684" indent="-127585" defTabSz="877533" fontAlgn="base">
              <a:spcBef>
                <a:spcPct val="0"/>
              </a:spcBef>
              <a:spcAft>
                <a:spcPct val="0"/>
              </a:spcAft>
              <a:buClr>
                <a:schemeClr val="tx2"/>
              </a:buClr>
              <a:buSzPct val="89000"/>
              <a:buFont typeface="Arial" charset="0"/>
              <a:buChar char="-"/>
              <a:defRPr sz="1568">
                <a:latin typeface="+mn-lt"/>
              </a:defRPr>
            </a:lvl9pPr>
          </a:lstStyle>
          <a:p>
            <a:pPr marL="1588" lvl="1" indent="0" algn="ctr">
              <a:spcBef>
                <a:spcPts val="918"/>
              </a:spcBef>
              <a:buNone/>
            </a:pPr>
            <a:r>
              <a:rPr lang="fr-FR" sz="1428" dirty="0"/>
              <a:t>836 administrations adhérentes dont 281 CT</a:t>
            </a:r>
          </a:p>
        </p:txBody>
      </p:sp>
    </p:spTree>
    <p:extLst>
      <p:ext uri="{BB962C8B-B14F-4D97-AF65-F5344CB8AC3E}">
        <p14:creationId xmlns:p14="http://schemas.microsoft.com/office/powerpoint/2010/main" val="31760753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C75A0AE-CA22-464B-9E21-E0339F317502}"/>
              </a:ext>
            </a:extLst>
          </p:cNvPr>
          <p:cNvSpPr>
            <a:spLocks noGrp="1"/>
          </p:cNvSpPr>
          <p:nvPr>
            <p:ph type="title"/>
          </p:nvPr>
        </p:nvSpPr>
        <p:spPr/>
        <p:txBody>
          <a:bodyPr/>
          <a:lstStyle/>
          <a:p>
            <a:r>
              <a:rPr lang="fr-FR" dirty="0"/>
              <a:t>Prise de rendez-vous </a:t>
            </a:r>
            <a:endParaRPr lang="fr-MA" dirty="0"/>
          </a:p>
        </p:txBody>
      </p:sp>
      <p:sp>
        <p:nvSpPr>
          <p:cNvPr id="3" name="TextBox 10">
            <a:extLst>
              <a:ext uri="{FF2B5EF4-FFF2-40B4-BE49-F238E27FC236}">
                <a16:creationId xmlns:a16="http://schemas.microsoft.com/office/drawing/2014/main" id="{6702B698-1087-4051-92C3-F8232E200131}"/>
              </a:ext>
            </a:extLst>
          </p:cNvPr>
          <p:cNvSpPr txBox="1"/>
          <p:nvPr/>
        </p:nvSpPr>
        <p:spPr>
          <a:xfrm>
            <a:off x="168115" y="1194239"/>
            <a:ext cx="5049728" cy="2884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837" b="1" dirty="0">
                <a:solidFill>
                  <a:schemeClr val="accent4"/>
                </a:solidFill>
              </a:rPr>
              <a:t>Cible : Administrations, Citoyens et entreprises</a:t>
            </a:r>
          </a:p>
        </p:txBody>
      </p:sp>
      <p:cxnSp>
        <p:nvCxnSpPr>
          <p:cNvPr id="4" name="Straight Connector 66">
            <a:extLst>
              <a:ext uri="{FF2B5EF4-FFF2-40B4-BE49-F238E27FC236}">
                <a16:creationId xmlns:a16="http://schemas.microsoft.com/office/drawing/2014/main" id="{F39F1568-AC0C-4A9F-843A-A9402FEF7AA1}"/>
              </a:ext>
            </a:extLst>
          </p:cNvPr>
          <p:cNvCxnSpPr>
            <a:cxnSpLocks/>
          </p:cNvCxnSpPr>
          <p:nvPr/>
        </p:nvCxnSpPr>
        <p:spPr>
          <a:xfrm>
            <a:off x="168115" y="1558805"/>
            <a:ext cx="1174524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6">
            <a:extLst>
              <a:ext uri="{FF2B5EF4-FFF2-40B4-BE49-F238E27FC236}">
                <a16:creationId xmlns:a16="http://schemas.microsoft.com/office/drawing/2014/main" id="{8D682D8A-F75B-4BB3-90ED-D0C637ECE2EA}"/>
              </a:ext>
            </a:extLst>
          </p:cNvPr>
          <p:cNvSpPr txBox="1">
            <a:spLocks/>
          </p:cNvSpPr>
          <p:nvPr/>
        </p:nvSpPr>
        <p:spPr>
          <a:xfrm>
            <a:off x="6848979" y="4160700"/>
            <a:ext cx="4813803" cy="340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defTabSz="877533" eaLnBrk="1" hangingPunct="1">
              <a:buClr>
                <a:schemeClr val="tx2"/>
              </a:buClr>
              <a:defRPr sz="1568">
                <a:latin typeface="+mn-lt"/>
              </a:defRPr>
            </a:lvl1pPr>
            <a:lvl2pPr marL="189821" lvl="1" indent="-188265" defTabSz="877533" eaLnBrk="1" hangingPunct="1">
              <a:buClr>
                <a:schemeClr val="tx2"/>
              </a:buClr>
              <a:buSzPct val="125000"/>
              <a:buFont typeface="Arial" charset="0"/>
              <a:buChar char="▪"/>
              <a:defRPr sz="1568">
                <a:latin typeface="+mn-lt"/>
              </a:defRPr>
            </a:lvl2pPr>
            <a:lvl3pPr marL="448102" lvl="2" indent="-256725" defTabSz="877533" eaLnBrk="1" hangingPunct="1">
              <a:buClr>
                <a:schemeClr val="tx2"/>
              </a:buClr>
              <a:buSzPct val="120000"/>
              <a:buFont typeface="Arial" charset="0"/>
              <a:buChar char="–"/>
              <a:defRPr sz="1568">
                <a:latin typeface="+mn-lt"/>
              </a:defRPr>
            </a:lvl3pPr>
            <a:lvl4pPr marL="602137" lvl="3" indent="-152479" defTabSz="877533" eaLnBrk="1" hangingPunct="1">
              <a:buClr>
                <a:schemeClr val="tx2"/>
              </a:buClr>
              <a:buSzPct val="120000"/>
              <a:buFont typeface="Arial" charset="0"/>
              <a:buChar char="▫"/>
              <a:defRPr sz="1568">
                <a:latin typeface="+mn-lt"/>
              </a:defRPr>
            </a:lvl4pPr>
            <a:lvl5pPr marL="731277" lvl="4" indent="-127585" defTabSz="877533" eaLnBrk="1" hangingPunct="1">
              <a:buClr>
                <a:schemeClr val="tx2"/>
              </a:buClr>
              <a:buSzPct val="89000"/>
              <a:buFont typeface="Arial" charset="0"/>
              <a:buChar char="-"/>
              <a:defRPr sz="1568">
                <a:latin typeface="+mn-lt"/>
              </a:defRPr>
            </a:lvl5pPr>
            <a:lvl6pPr marL="1179379" indent="-127585" defTabSz="877533" fontAlgn="base">
              <a:spcBef>
                <a:spcPct val="0"/>
              </a:spcBef>
              <a:spcAft>
                <a:spcPct val="0"/>
              </a:spcAft>
              <a:buClr>
                <a:schemeClr val="tx2"/>
              </a:buClr>
              <a:buSzPct val="89000"/>
              <a:buFont typeface="Arial" charset="0"/>
              <a:buChar char="-"/>
              <a:defRPr sz="1568">
                <a:latin typeface="+mn-lt"/>
              </a:defRPr>
            </a:lvl6pPr>
            <a:lvl7pPr marL="1627481" indent="-127585" defTabSz="877533" fontAlgn="base">
              <a:spcBef>
                <a:spcPct val="0"/>
              </a:spcBef>
              <a:spcAft>
                <a:spcPct val="0"/>
              </a:spcAft>
              <a:buClr>
                <a:schemeClr val="tx2"/>
              </a:buClr>
              <a:buSzPct val="89000"/>
              <a:buFont typeface="Arial" charset="0"/>
              <a:buChar char="-"/>
              <a:defRPr sz="1568">
                <a:latin typeface="+mn-lt"/>
              </a:defRPr>
            </a:lvl7pPr>
            <a:lvl8pPr marL="2075582" indent="-127585" defTabSz="877533" fontAlgn="base">
              <a:spcBef>
                <a:spcPct val="0"/>
              </a:spcBef>
              <a:spcAft>
                <a:spcPct val="0"/>
              </a:spcAft>
              <a:buClr>
                <a:schemeClr val="tx2"/>
              </a:buClr>
              <a:buSzPct val="89000"/>
              <a:buFont typeface="Arial" charset="0"/>
              <a:buChar char="-"/>
              <a:defRPr sz="1568">
                <a:latin typeface="+mn-lt"/>
              </a:defRPr>
            </a:lvl8pPr>
            <a:lvl9pPr marL="2523684" indent="-127585" defTabSz="877533" fontAlgn="base">
              <a:spcBef>
                <a:spcPct val="0"/>
              </a:spcBef>
              <a:spcAft>
                <a:spcPct val="0"/>
              </a:spcAft>
              <a:buClr>
                <a:schemeClr val="tx2"/>
              </a:buClr>
              <a:buSzPct val="89000"/>
              <a:buFont typeface="Arial" charset="0"/>
              <a:buChar char="-"/>
              <a:defRPr sz="1568">
                <a:latin typeface="+mn-lt"/>
              </a:defRPr>
            </a:lvl9pPr>
          </a:lstStyle>
          <a:p>
            <a:pPr marL="1588" lvl="1" indent="0" algn="ctr">
              <a:spcBef>
                <a:spcPts val="918"/>
              </a:spcBef>
              <a:buNone/>
            </a:pPr>
            <a:r>
              <a:rPr lang="fr-FR" sz="1428" dirty="0"/>
              <a:t>40 RDV pris par jour</a:t>
            </a:r>
          </a:p>
        </p:txBody>
      </p:sp>
      <p:grpSp>
        <p:nvGrpSpPr>
          <p:cNvPr id="22" name="Group 7">
            <a:extLst>
              <a:ext uri="{FF2B5EF4-FFF2-40B4-BE49-F238E27FC236}">
                <a16:creationId xmlns:a16="http://schemas.microsoft.com/office/drawing/2014/main" id="{F0F3F836-86A1-4048-B9B9-2A11419BE6F3}"/>
              </a:ext>
            </a:extLst>
          </p:cNvPr>
          <p:cNvGrpSpPr/>
          <p:nvPr/>
        </p:nvGrpSpPr>
        <p:grpSpPr>
          <a:xfrm>
            <a:off x="5394819" y="1769344"/>
            <a:ext cx="388627" cy="4689572"/>
            <a:chOff x="5181181" y="1713338"/>
            <a:chExt cx="380895" cy="4596282"/>
          </a:xfrm>
        </p:grpSpPr>
        <p:cxnSp>
          <p:nvCxnSpPr>
            <p:cNvPr id="23" name="LineBasicVerticalDefault 31">
              <a:extLst>
                <a:ext uri="{FF2B5EF4-FFF2-40B4-BE49-F238E27FC236}">
                  <a16:creationId xmlns:a16="http://schemas.microsoft.com/office/drawing/2014/main" id="{0A6F99A0-9CFE-44EE-90BF-2085560FDD89}"/>
                </a:ext>
              </a:extLst>
            </p:cNvPr>
            <p:cNvCxnSpPr>
              <a:cxnSpLocks/>
            </p:cNvCxnSpPr>
            <p:nvPr>
              <p:custDataLst>
                <p:tags r:id="rId1"/>
              </p:custDataLst>
            </p:nvPr>
          </p:nvCxnSpPr>
          <p:spPr>
            <a:xfrm>
              <a:off x="5371629" y="1713338"/>
              <a:ext cx="0" cy="4596282"/>
            </a:xfrm>
            <a:prstGeom prst="straightConnector1">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4" name="Group 44">
              <a:extLst>
                <a:ext uri="{FF2B5EF4-FFF2-40B4-BE49-F238E27FC236}">
                  <a16:creationId xmlns:a16="http://schemas.microsoft.com/office/drawing/2014/main" id="{D1042489-F742-4B23-8DD4-A01BD1DF6850}"/>
                </a:ext>
              </a:extLst>
            </p:cNvPr>
            <p:cNvGrpSpPr/>
            <p:nvPr/>
          </p:nvGrpSpPr>
          <p:grpSpPr>
            <a:xfrm flipV="1">
              <a:off x="5181181" y="3826814"/>
              <a:ext cx="380895" cy="369331"/>
              <a:chOff x="5381303" y="3432175"/>
              <a:chExt cx="193080" cy="253363"/>
            </a:xfrm>
            <a:solidFill>
              <a:schemeClr val="tx2"/>
            </a:solidFill>
          </p:grpSpPr>
          <p:sp>
            <p:nvSpPr>
              <p:cNvPr id="25" name="Chevron 125">
                <a:extLst>
                  <a:ext uri="{FF2B5EF4-FFF2-40B4-BE49-F238E27FC236}">
                    <a16:creationId xmlns:a16="http://schemas.microsoft.com/office/drawing/2014/main" id="{4ACCA875-250F-487A-95AD-C66F53CEECC5}"/>
                  </a:ext>
                </a:extLst>
              </p:cNvPr>
              <p:cNvSpPr/>
              <p:nvPr/>
            </p:nvSpPr>
            <p:spPr>
              <a:xfrm>
                <a:off x="5418865" y="3432175"/>
                <a:ext cx="155518" cy="253363"/>
              </a:xfrm>
              <a:prstGeom prst="chevron">
                <a:avLst>
                  <a:gd name="adj" fmla="val 43408"/>
                </a:avLst>
              </a:prstGeom>
              <a:grp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sz="1837" dirty="0"/>
              </a:p>
            </p:txBody>
          </p:sp>
          <p:sp>
            <p:nvSpPr>
              <p:cNvPr id="26" name="Chevron 127">
                <a:extLst>
                  <a:ext uri="{FF2B5EF4-FFF2-40B4-BE49-F238E27FC236}">
                    <a16:creationId xmlns:a16="http://schemas.microsoft.com/office/drawing/2014/main" id="{1848E6F2-A591-4533-8B30-02E8B18BE150}"/>
                  </a:ext>
                </a:extLst>
              </p:cNvPr>
              <p:cNvSpPr/>
              <p:nvPr/>
            </p:nvSpPr>
            <p:spPr>
              <a:xfrm>
                <a:off x="5381303" y="3484256"/>
                <a:ext cx="85075" cy="149200"/>
              </a:xfrm>
              <a:prstGeom prst="chevron">
                <a:avLst>
                  <a:gd name="adj" fmla="val 46728"/>
                </a:avLst>
              </a:prstGeom>
              <a:solidFill>
                <a:schemeClr val="accent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sz="1837" dirty="0"/>
              </a:p>
            </p:txBody>
          </p:sp>
        </p:grpSp>
      </p:grpSp>
      <p:pic>
        <p:nvPicPr>
          <p:cNvPr id="28" name="Graphique 27" descr="Tendance à la hausse">
            <a:extLst>
              <a:ext uri="{FF2B5EF4-FFF2-40B4-BE49-F238E27FC236}">
                <a16:creationId xmlns:a16="http://schemas.microsoft.com/office/drawing/2014/main" id="{0DBF97E6-75BE-4C77-9B34-DFE720A03D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040732" y="3942452"/>
            <a:ext cx="550960" cy="550960"/>
          </a:xfrm>
          <a:prstGeom prst="rect">
            <a:avLst/>
          </a:prstGeom>
        </p:spPr>
      </p:pic>
      <p:pic>
        <p:nvPicPr>
          <p:cNvPr id="30" name="Graphique 29">
            <a:extLst>
              <a:ext uri="{FF2B5EF4-FFF2-40B4-BE49-F238E27FC236}">
                <a16:creationId xmlns:a16="http://schemas.microsoft.com/office/drawing/2014/main" id="{14CEDC4F-FF0A-4091-BA19-ABAE31B564A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96000" y="4678962"/>
            <a:ext cx="477499" cy="477499"/>
          </a:xfrm>
          <a:prstGeom prst="rect">
            <a:avLst/>
          </a:prstGeom>
        </p:spPr>
      </p:pic>
      <p:sp>
        <p:nvSpPr>
          <p:cNvPr id="32" name="TextBox 6">
            <a:extLst>
              <a:ext uri="{FF2B5EF4-FFF2-40B4-BE49-F238E27FC236}">
                <a16:creationId xmlns:a16="http://schemas.microsoft.com/office/drawing/2014/main" id="{9F5D9195-FD3E-47DA-9DE1-7D889EEA31DA}"/>
              </a:ext>
            </a:extLst>
          </p:cNvPr>
          <p:cNvSpPr txBox="1">
            <a:spLocks/>
          </p:cNvSpPr>
          <p:nvPr/>
        </p:nvSpPr>
        <p:spPr>
          <a:xfrm>
            <a:off x="7080365" y="4861088"/>
            <a:ext cx="4431296" cy="340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defTabSz="877533" eaLnBrk="1" hangingPunct="1">
              <a:buClr>
                <a:schemeClr val="tx2"/>
              </a:buClr>
              <a:defRPr sz="1568">
                <a:latin typeface="+mn-lt"/>
              </a:defRPr>
            </a:lvl1pPr>
            <a:lvl2pPr marL="189821" lvl="1" indent="-188265" defTabSz="877533" eaLnBrk="1" hangingPunct="1">
              <a:buClr>
                <a:schemeClr val="tx2"/>
              </a:buClr>
              <a:buSzPct val="125000"/>
              <a:buFont typeface="Arial" charset="0"/>
              <a:buChar char="▪"/>
              <a:defRPr sz="1568">
                <a:latin typeface="+mn-lt"/>
              </a:defRPr>
            </a:lvl2pPr>
            <a:lvl3pPr marL="448102" lvl="2" indent="-256725" defTabSz="877533" eaLnBrk="1" hangingPunct="1">
              <a:buClr>
                <a:schemeClr val="tx2"/>
              </a:buClr>
              <a:buSzPct val="120000"/>
              <a:buFont typeface="Arial" charset="0"/>
              <a:buChar char="–"/>
              <a:defRPr sz="1568">
                <a:latin typeface="+mn-lt"/>
              </a:defRPr>
            </a:lvl3pPr>
            <a:lvl4pPr marL="602137" lvl="3" indent="-152479" defTabSz="877533" eaLnBrk="1" hangingPunct="1">
              <a:buClr>
                <a:schemeClr val="tx2"/>
              </a:buClr>
              <a:buSzPct val="120000"/>
              <a:buFont typeface="Arial" charset="0"/>
              <a:buChar char="▫"/>
              <a:defRPr sz="1568">
                <a:latin typeface="+mn-lt"/>
              </a:defRPr>
            </a:lvl4pPr>
            <a:lvl5pPr marL="731277" lvl="4" indent="-127585" defTabSz="877533" eaLnBrk="1" hangingPunct="1">
              <a:buClr>
                <a:schemeClr val="tx2"/>
              </a:buClr>
              <a:buSzPct val="89000"/>
              <a:buFont typeface="Arial" charset="0"/>
              <a:buChar char="-"/>
              <a:defRPr sz="1568">
                <a:latin typeface="+mn-lt"/>
              </a:defRPr>
            </a:lvl5pPr>
            <a:lvl6pPr marL="1179379" indent="-127585" defTabSz="877533" fontAlgn="base">
              <a:spcBef>
                <a:spcPct val="0"/>
              </a:spcBef>
              <a:spcAft>
                <a:spcPct val="0"/>
              </a:spcAft>
              <a:buClr>
                <a:schemeClr val="tx2"/>
              </a:buClr>
              <a:buSzPct val="89000"/>
              <a:buFont typeface="Arial" charset="0"/>
              <a:buChar char="-"/>
              <a:defRPr sz="1568">
                <a:latin typeface="+mn-lt"/>
              </a:defRPr>
            </a:lvl6pPr>
            <a:lvl7pPr marL="1627481" indent="-127585" defTabSz="877533" fontAlgn="base">
              <a:spcBef>
                <a:spcPct val="0"/>
              </a:spcBef>
              <a:spcAft>
                <a:spcPct val="0"/>
              </a:spcAft>
              <a:buClr>
                <a:schemeClr val="tx2"/>
              </a:buClr>
              <a:buSzPct val="89000"/>
              <a:buFont typeface="Arial" charset="0"/>
              <a:buChar char="-"/>
              <a:defRPr sz="1568">
                <a:latin typeface="+mn-lt"/>
              </a:defRPr>
            </a:lvl7pPr>
            <a:lvl8pPr marL="2075582" indent="-127585" defTabSz="877533" fontAlgn="base">
              <a:spcBef>
                <a:spcPct val="0"/>
              </a:spcBef>
              <a:spcAft>
                <a:spcPct val="0"/>
              </a:spcAft>
              <a:buClr>
                <a:schemeClr val="tx2"/>
              </a:buClr>
              <a:buSzPct val="89000"/>
              <a:buFont typeface="Arial" charset="0"/>
              <a:buChar char="-"/>
              <a:defRPr sz="1568">
                <a:latin typeface="+mn-lt"/>
              </a:defRPr>
            </a:lvl8pPr>
            <a:lvl9pPr marL="2523684" indent="-127585" defTabSz="877533" fontAlgn="base">
              <a:spcBef>
                <a:spcPct val="0"/>
              </a:spcBef>
              <a:spcAft>
                <a:spcPct val="0"/>
              </a:spcAft>
              <a:buClr>
                <a:schemeClr val="tx2"/>
              </a:buClr>
              <a:buSzPct val="89000"/>
              <a:buFont typeface="Arial" charset="0"/>
              <a:buChar char="-"/>
              <a:defRPr sz="1568">
                <a:latin typeface="+mn-lt"/>
              </a:defRPr>
            </a:lvl9pPr>
          </a:lstStyle>
          <a:p>
            <a:pPr marL="1588" lvl="1" indent="0" algn="ctr">
              <a:spcBef>
                <a:spcPts val="918"/>
              </a:spcBef>
              <a:buNone/>
            </a:pPr>
            <a:r>
              <a:rPr lang="fr-FR" sz="1428" dirty="0"/>
              <a:t>15 administrations adhérentes</a:t>
            </a:r>
          </a:p>
        </p:txBody>
      </p:sp>
      <p:pic>
        <p:nvPicPr>
          <p:cNvPr id="34" name="Graphique 33" descr="Toque d'étudiant">
            <a:extLst>
              <a:ext uri="{FF2B5EF4-FFF2-40B4-BE49-F238E27FC236}">
                <a16:creationId xmlns:a16="http://schemas.microsoft.com/office/drawing/2014/main" id="{3CB20BAC-1F7F-44DF-8821-BE6685DFAC0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096000" y="5479365"/>
            <a:ext cx="565653" cy="565653"/>
          </a:xfrm>
          <a:prstGeom prst="rect">
            <a:avLst/>
          </a:prstGeom>
        </p:spPr>
      </p:pic>
      <p:sp>
        <p:nvSpPr>
          <p:cNvPr id="36" name="TextBox 6">
            <a:extLst>
              <a:ext uri="{FF2B5EF4-FFF2-40B4-BE49-F238E27FC236}">
                <a16:creationId xmlns:a16="http://schemas.microsoft.com/office/drawing/2014/main" id="{B10E8249-D7DF-444F-826F-15C4CCBCBD54}"/>
              </a:ext>
            </a:extLst>
          </p:cNvPr>
          <p:cNvSpPr txBox="1">
            <a:spLocks/>
          </p:cNvSpPr>
          <p:nvPr/>
        </p:nvSpPr>
        <p:spPr>
          <a:xfrm>
            <a:off x="6848979" y="5592093"/>
            <a:ext cx="4813803" cy="5656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defTabSz="877533" eaLnBrk="1" hangingPunct="1">
              <a:buClr>
                <a:schemeClr val="tx2"/>
              </a:buClr>
              <a:defRPr sz="1568">
                <a:latin typeface="+mn-lt"/>
              </a:defRPr>
            </a:lvl1pPr>
            <a:lvl2pPr marL="189821" lvl="1" indent="-188265" defTabSz="877533" eaLnBrk="1" hangingPunct="1">
              <a:buClr>
                <a:schemeClr val="tx2"/>
              </a:buClr>
              <a:buSzPct val="125000"/>
              <a:buFont typeface="Arial" charset="0"/>
              <a:buChar char="▪"/>
              <a:defRPr sz="1568">
                <a:latin typeface="+mn-lt"/>
              </a:defRPr>
            </a:lvl2pPr>
            <a:lvl3pPr marL="448102" lvl="2" indent="-256725" defTabSz="877533" eaLnBrk="1" hangingPunct="1">
              <a:buClr>
                <a:schemeClr val="tx2"/>
              </a:buClr>
              <a:buSzPct val="120000"/>
              <a:buFont typeface="Arial" charset="0"/>
              <a:buChar char="–"/>
              <a:defRPr sz="1568">
                <a:latin typeface="+mn-lt"/>
              </a:defRPr>
            </a:lvl3pPr>
            <a:lvl4pPr marL="602137" lvl="3" indent="-152479" defTabSz="877533" eaLnBrk="1" hangingPunct="1">
              <a:buClr>
                <a:schemeClr val="tx2"/>
              </a:buClr>
              <a:buSzPct val="120000"/>
              <a:buFont typeface="Arial" charset="0"/>
              <a:buChar char="▫"/>
              <a:defRPr sz="1568">
                <a:latin typeface="+mn-lt"/>
              </a:defRPr>
            </a:lvl4pPr>
            <a:lvl5pPr marL="731277" lvl="4" indent="-127585" defTabSz="877533" eaLnBrk="1" hangingPunct="1">
              <a:buClr>
                <a:schemeClr val="tx2"/>
              </a:buClr>
              <a:buSzPct val="89000"/>
              <a:buFont typeface="Arial" charset="0"/>
              <a:buChar char="-"/>
              <a:defRPr sz="1568">
                <a:latin typeface="+mn-lt"/>
              </a:defRPr>
            </a:lvl5pPr>
            <a:lvl6pPr marL="1179379" indent="-127585" defTabSz="877533" fontAlgn="base">
              <a:spcBef>
                <a:spcPct val="0"/>
              </a:spcBef>
              <a:spcAft>
                <a:spcPct val="0"/>
              </a:spcAft>
              <a:buClr>
                <a:schemeClr val="tx2"/>
              </a:buClr>
              <a:buSzPct val="89000"/>
              <a:buFont typeface="Arial" charset="0"/>
              <a:buChar char="-"/>
              <a:defRPr sz="1568">
                <a:latin typeface="+mn-lt"/>
              </a:defRPr>
            </a:lvl6pPr>
            <a:lvl7pPr marL="1627481" indent="-127585" defTabSz="877533" fontAlgn="base">
              <a:spcBef>
                <a:spcPct val="0"/>
              </a:spcBef>
              <a:spcAft>
                <a:spcPct val="0"/>
              </a:spcAft>
              <a:buClr>
                <a:schemeClr val="tx2"/>
              </a:buClr>
              <a:buSzPct val="89000"/>
              <a:buFont typeface="Arial" charset="0"/>
              <a:buChar char="-"/>
              <a:defRPr sz="1568">
                <a:latin typeface="+mn-lt"/>
              </a:defRPr>
            </a:lvl7pPr>
            <a:lvl8pPr marL="2075582" indent="-127585" defTabSz="877533" fontAlgn="base">
              <a:spcBef>
                <a:spcPct val="0"/>
              </a:spcBef>
              <a:spcAft>
                <a:spcPct val="0"/>
              </a:spcAft>
              <a:buClr>
                <a:schemeClr val="tx2"/>
              </a:buClr>
              <a:buSzPct val="89000"/>
              <a:buFont typeface="Arial" charset="0"/>
              <a:buChar char="-"/>
              <a:defRPr sz="1568">
                <a:latin typeface="+mn-lt"/>
              </a:defRPr>
            </a:lvl8pPr>
            <a:lvl9pPr marL="2523684" indent="-127585" defTabSz="877533" fontAlgn="base">
              <a:spcBef>
                <a:spcPct val="0"/>
              </a:spcBef>
              <a:spcAft>
                <a:spcPct val="0"/>
              </a:spcAft>
              <a:buClr>
                <a:schemeClr val="tx2"/>
              </a:buClr>
              <a:buSzPct val="89000"/>
              <a:buFont typeface="Arial" charset="0"/>
              <a:buChar char="-"/>
              <a:defRPr sz="1568">
                <a:latin typeface="+mn-lt"/>
              </a:defRPr>
            </a:lvl9pPr>
          </a:lstStyle>
          <a:p>
            <a:pPr marL="1588" lvl="1" indent="0" algn="ctr">
              <a:spcBef>
                <a:spcPts val="918"/>
              </a:spcBef>
              <a:buNone/>
            </a:pPr>
            <a:r>
              <a:rPr lang="fr-FR" sz="1428" dirty="0"/>
              <a:t>50 Formations en ligne et ateliers</a:t>
            </a:r>
          </a:p>
        </p:txBody>
      </p:sp>
      <p:sp>
        <p:nvSpPr>
          <p:cNvPr id="38" name="ZoneTexte 37">
            <a:extLst>
              <a:ext uri="{FF2B5EF4-FFF2-40B4-BE49-F238E27FC236}">
                <a16:creationId xmlns:a16="http://schemas.microsoft.com/office/drawing/2014/main" id="{4F9CD4FD-3230-4A88-8247-A63438FE9EC7}"/>
              </a:ext>
            </a:extLst>
          </p:cNvPr>
          <p:cNvSpPr txBox="1"/>
          <p:nvPr/>
        </p:nvSpPr>
        <p:spPr>
          <a:xfrm>
            <a:off x="259446" y="1769344"/>
            <a:ext cx="4392298" cy="449943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07000"/>
              </a:lnSpc>
              <a:spcAft>
                <a:spcPts val="800"/>
              </a:spcAft>
            </a:pPr>
            <a:r>
              <a:rPr lang="fr-FR" sz="1428" dirty="0"/>
              <a:t>Le service permet aux citoyens la prise des rendez-vous pour bénéficier des services, des administrations publiques, par vidéoconférence avec les chargés d’information ou de conseil, il offre aux administrations un large panel des fonctionnalités : </a:t>
            </a:r>
          </a:p>
          <a:p>
            <a:pPr marL="342898" indent="-342898" algn="just">
              <a:lnSpc>
                <a:spcPct val="107000"/>
              </a:lnSpc>
              <a:buFont typeface="Arial" panose="020B0604020202020204" pitchFamily="34" charset="0"/>
              <a:buChar char="•"/>
            </a:pPr>
            <a:r>
              <a:rPr lang="fr-FR" sz="1428" dirty="0"/>
              <a:t>Des rendez-vous en ligne en utilisant la technologie de vidéoconférence, et en assurant la possibilité d’échanger des documents en toute sécurité. </a:t>
            </a:r>
          </a:p>
          <a:p>
            <a:pPr marL="342898" indent="-342898" algn="just">
              <a:lnSpc>
                <a:spcPct val="107000"/>
              </a:lnSpc>
              <a:buFont typeface="Arial" panose="020B0604020202020204" pitchFamily="34" charset="0"/>
              <a:buChar char="•"/>
            </a:pPr>
            <a:r>
              <a:rPr lang="fr-FR" sz="1428" dirty="0"/>
              <a:t>Une gestion des Agenda en ligne par type de prestation, selon la disponibilité des ressources et en respectant la répartition géographique des agences. </a:t>
            </a:r>
          </a:p>
          <a:p>
            <a:pPr marL="342898" indent="-342898" algn="just">
              <a:lnSpc>
                <a:spcPct val="107000"/>
              </a:lnSpc>
              <a:buFont typeface="Arial" panose="020B0604020202020204" pitchFamily="34" charset="0"/>
              <a:buChar char="•"/>
            </a:pPr>
            <a:r>
              <a:rPr lang="fr-FR" sz="1428" dirty="0"/>
              <a:t>Un système de gestion et de rappel des RDV performant ;</a:t>
            </a:r>
          </a:p>
          <a:p>
            <a:pPr marL="342898" indent="-342898" algn="just">
              <a:lnSpc>
                <a:spcPct val="107000"/>
              </a:lnSpc>
              <a:spcAft>
                <a:spcPts val="800"/>
              </a:spcAft>
              <a:buFont typeface="Arial" panose="020B0604020202020204" pitchFamily="34" charset="0"/>
              <a:buChar char="•"/>
            </a:pPr>
            <a:r>
              <a:rPr lang="fr-FR" sz="1428" dirty="0"/>
              <a:t>Un système de supervision central et régional pour l’optimisation des agendas et le suivie des performances et délais des RDV ;</a:t>
            </a:r>
          </a:p>
        </p:txBody>
      </p:sp>
      <p:graphicFrame>
        <p:nvGraphicFramePr>
          <p:cNvPr id="18" name="Graphique 17">
            <a:extLst>
              <a:ext uri="{FF2B5EF4-FFF2-40B4-BE49-F238E27FC236}">
                <a16:creationId xmlns:a16="http://schemas.microsoft.com/office/drawing/2014/main" id="{45A69B56-2AA4-4C23-8CFC-DDFE0624F2C9}"/>
              </a:ext>
            </a:extLst>
          </p:cNvPr>
          <p:cNvGraphicFramePr>
            <a:graphicFrameLocks/>
          </p:cNvGraphicFramePr>
          <p:nvPr/>
        </p:nvGraphicFramePr>
        <p:xfrm>
          <a:off x="6311840" y="1757259"/>
          <a:ext cx="4990999" cy="219431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997948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10">
            <a:extLst>
              <a:ext uri="{FF2B5EF4-FFF2-40B4-BE49-F238E27FC236}">
                <a16:creationId xmlns:a16="http://schemas.microsoft.com/office/drawing/2014/main" id="{238BFD3F-BAA3-403F-82CF-7421803776B2}"/>
              </a:ext>
            </a:extLst>
          </p:cNvPr>
          <p:cNvSpPr txBox="1"/>
          <p:nvPr/>
        </p:nvSpPr>
        <p:spPr>
          <a:xfrm>
            <a:off x="168026" y="1092666"/>
            <a:ext cx="11015669" cy="2884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837" b="1" dirty="0">
                <a:solidFill>
                  <a:schemeClr val="accent4"/>
                </a:solidFill>
              </a:rPr>
              <a:t>Cible : Citoyens, Collectivités territoriales, DGCT, IGAT, Wilaya, Provinces,Préfectures,Arrondissements</a:t>
            </a:r>
          </a:p>
        </p:txBody>
      </p:sp>
      <p:cxnSp>
        <p:nvCxnSpPr>
          <p:cNvPr id="9" name="Straight Connector 66">
            <a:extLst>
              <a:ext uri="{FF2B5EF4-FFF2-40B4-BE49-F238E27FC236}">
                <a16:creationId xmlns:a16="http://schemas.microsoft.com/office/drawing/2014/main" id="{CB3EBCCA-DDDB-4341-BF1A-E44CFE96EA35}"/>
              </a:ext>
            </a:extLst>
          </p:cNvPr>
          <p:cNvCxnSpPr>
            <a:cxnSpLocks/>
          </p:cNvCxnSpPr>
          <p:nvPr/>
        </p:nvCxnSpPr>
        <p:spPr>
          <a:xfrm>
            <a:off x="168026" y="1444112"/>
            <a:ext cx="1174541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0" name="Group 7">
            <a:extLst>
              <a:ext uri="{FF2B5EF4-FFF2-40B4-BE49-F238E27FC236}">
                <a16:creationId xmlns:a16="http://schemas.microsoft.com/office/drawing/2014/main" id="{6D58FB2A-A3A6-4543-BE3E-45AE20E8B26B}"/>
              </a:ext>
            </a:extLst>
          </p:cNvPr>
          <p:cNvGrpSpPr/>
          <p:nvPr/>
        </p:nvGrpSpPr>
        <p:grpSpPr>
          <a:xfrm>
            <a:off x="5394819" y="1769344"/>
            <a:ext cx="388627" cy="4689572"/>
            <a:chOff x="5181181" y="1713338"/>
            <a:chExt cx="380895" cy="4596282"/>
          </a:xfrm>
        </p:grpSpPr>
        <p:cxnSp>
          <p:nvCxnSpPr>
            <p:cNvPr id="11" name="LineBasicVerticalDefault 31">
              <a:extLst>
                <a:ext uri="{FF2B5EF4-FFF2-40B4-BE49-F238E27FC236}">
                  <a16:creationId xmlns:a16="http://schemas.microsoft.com/office/drawing/2014/main" id="{78690618-B4F0-47D8-9CCB-C03C90650323}"/>
                </a:ext>
              </a:extLst>
            </p:cNvPr>
            <p:cNvCxnSpPr>
              <a:cxnSpLocks/>
            </p:cNvCxnSpPr>
            <p:nvPr>
              <p:custDataLst>
                <p:tags r:id="rId1"/>
              </p:custDataLst>
            </p:nvPr>
          </p:nvCxnSpPr>
          <p:spPr>
            <a:xfrm>
              <a:off x="5371629" y="1713338"/>
              <a:ext cx="0" cy="4596282"/>
            </a:xfrm>
            <a:prstGeom prst="straightConnector1">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2" name="Group 44">
              <a:extLst>
                <a:ext uri="{FF2B5EF4-FFF2-40B4-BE49-F238E27FC236}">
                  <a16:creationId xmlns:a16="http://schemas.microsoft.com/office/drawing/2014/main" id="{76500981-7764-4230-993E-C6B57E8A48B4}"/>
                </a:ext>
              </a:extLst>
            </p:cNvPr>
            <p:cNvGrpSpPr/>
            <p:nvPr/>
          </p:nvGrpSpPr>
          <p:grpSpPr>
            <a:xfrm flipV="1">
              <a:off x="5181181" y="3826814"/>
              <a:ext cx="380895" cy="369331"/>
              <a:chOff x="5381303" y="3432175"/>
              <a:chExt cx="193080" cy="253363"/>
            </a:xfrm>
            <a:solidFill>
              <a:schemeClr val="tx2"/>
            </a:solidFill>
          </p:grpSpPr>
          <p:sp>
            <p:nvSpPr>
              <p:cNvPr id="13" name="Chevron 125">
                <a:extLst>
                  <a:ext uri="{FF2B5EF4-FFF2-40B4-BE49-F238E27FC236}">
                    <a16:creationId xmlns:a16="http://schemas.microsoft.com/office/drawing/2014/main" id="{B9896476-2A38-4CD1-B461-2F0AFBE41D0A}"/>
                  </a:ext>
                </a:extLst>
              </p:cNvPr>
              <p:cNvSpPr/>
              <p:nvPr/>
            </p:nvSpPr>
            <p:spPr>
              <a:xfrm>
                <a:off x="5418865" y="3432175"/>
                <a:ext cx="155518" cy="253363"/>
              </a:xfrm>
              <a:prstGeom prst="chevron">
                <a:avLst>
                  <a:gd name="adj" fmla="val 43408"/>
                </a:avLst>
              </a:prstGeom>
              <a:grp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sz="1837" dirty="0"/>
              </a:p>
            </p:txBody>
          </p:sp>
          <p:sp>
            <p:nvSpPr>
              <p:cNvPr id="14" name="Chevron 127">
                <a:extLst>
                  <a:ext uri="{FF2B5EF4-FFF2-40B4-BE49-F238E27FC236}">
                    <a16:creationId xmlns:a16="http://schemas.microsoft.com/office/drawing/2014/main" id="{C90B0325-AE1C-4E30-AAF2-257A51DCF131}"/>
                  </a:ext>
                </a:extLst>
              </p:cNvPr>
              <p:cNvSpPr/>
              <p:nvPr/>
            </p:nvSpPr>
            <p:spPr>
              <a:xfrm>
                <a:off x="5381303" y="3484256"/>
                <a:ext cx="85075" cy="149200"/>
              </a:xfrm>
              <a:prstGeom prst="chevron">
                <a:avLst>
                  <a:gd name="adj" fmla="val 46728"/>
                </a:avLst>
              </a:prstGeom>
              <a:solidFill>
                <a:schemeClr val="accent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sz="1837" dirty="0"/>
              </a:p>
            </p:txBody>
          </p:sp>
        </p:grpSp>
      </p:grpSp>
      <p:sp>
        <p:nvSpPr>
          <p:cNvPr id="15" name="Titre 1">
            <a:extLst>
              <a:ext uri="{FF2B5EF4-FFF2-40B4-BE49-F238E27FC236}">
                <a16:creationId xmlns:a16="http://schemas.microsoft.com/office/drawing/2014/main" id="{E099F1E6-B689-42DF-AACD-7FE3C25864EF}"/>
              </a:ext>
            </a:extLst>
          </p:cNvPr>
          <p:cNvSpPr txBox="1">
            <a:spLocks/>
          </p:cNvSpPr>
          <p:nvPr/>
        </p:nvSpPr>
        <p:spPr bwMode="gray">
          <a:xfrm>
            <a:off x="308942" y="292175"/>
            <a:ext cx="10514229"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defTabSz="1193860" rtl="0" eaLnBrk="1" fontAlgn="base" hangingPunct="1">
              <a:spcBef>
                <a:spcPct val="0"/>
              </a:spcBef>
              <a:spcAft>
                <a:spcPct val="0"/>
              </a:spcAft>
              <a:tabLst>
                <a:tab pos="447675" algn="l"/>
              </a:tabLst>
              <a:defRPr sz="2400" b="1" baseline="0">
                <a:solidFill>
                  <a:schemeClr val="tx2"/>
                </a:solidFill>
                <a:latin typeface="+mj-lt"/>
                <a:ea typeface="+mj-ea"/>
                <a:cs typeface="+mj-cs"/>
                <a:sym typeface="+mj-lt"/>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a:lstStyle>
          <a:p>
            <a:r>
              <a:rPr lang="fr-FR" sz="2449" dirty="0"/>
              <a:t>L’Intégration et le déploiement de la plateforme </a:t>
            </a:r>
            <a:r>
              <a:rPr lang="fr-FR" sz="2449" dirty="0" err="1"/>
              <a:t>Chikaya</a:t>
            </a:r>
            <a:r>
              <a:rPr lang="fr-FR" sz="2449" dirty="0"/>
              <a:t> pour les collectivités territoriales </a:t>
            </a:r>
            <a:endParaRPr lang="fr-MA" sz="2449" kern="0" dirty="0"/>
          </a:p>
        </p:txBody>
      </p:sp>
      <p:sp>
        <p:nvSpPr>
          <p:cNvPr id="4" name="Rectangle 3">
            <a:extLst>
              <a:ext uri="{FF2B5EF4-FFF2-40B4-BE49-F238E27FC236}">
                <a16:creationId xmlns:a16="http://schemas.microsoft.com/office/drawing/2014/main" id="{AF5D5015-D09D-48A2-833F-B1AF319B652E}"/>
              </a:ext>
            </a:extLst>
          </p:cNvPr>
          <p:cNvSpPr/>
          <p:nvPr/>
        </p:nvSpPr>
        <p:spPr>
          <a:xfrm>
            <a:off x="79509" y="1612836"/>
            <a:ext cx="5226794" cy="4874566"/>
          </a:xfrm>
          <a:prstGeom prst="rect">
            <a:avLst/>
          </a:prstGeom>
        </p:spPr>
        <p:txBody>
          <a:bodyPr wrap="square">
            <a:spAutoFit/>
          </a:bodyPr>
          <a:lstStyle/>
          <a:p>
            <a:pPr algn="just">
              <a:lnSpc>
                <a:spcPct val="107000"/>
              </a:lnSpc>
              <a:tabLst>
                <a:tab pos="3738976" algn="l"/>
              </a:tabLst>
            </a:pPr>
            <a:r>
              <a:rPr lang="fr-MA" sz="1428" dirty="0"/>
              <a:t>Conformément aux dispositifs de l’article 21 du décret « 2-17-265 » la Direction Générale des Collectivités Territoriales DGCT et l’ADD ont mené un projet d’intégration des collectivités territoriales dans le portail national des réclamations « Chikaya.ma »</a:t>
            </a:r>
            <a:r>
              <a:rPr lang="fr-FR" sz="1428" dirty="0"/>
              <a:t>, cette plateforme permet :</a:t>
            </a:r>
          </a:p>
          <a:p>
            <a:pPr algn="just">
              <a:lnSpc>
                <a:spcPct val="107000"/>
              </a:lnSpc>
              <a:tabLst>
                <a:tab pos="3738976" algn="l"/>
              </a:tabLst>
            </a:pPr>
            <a:endParaRPr lang="fr-FR" sz="1428" dirty="0"/>
          </a:p>
          <a:p>
            <a:pPr marL="291551" indent="-291551" algn="just">
              <a:lnSpc>
                <a:spcPct val="107000"/>
              </a:lnSpc>
              <a:buFont typeface="Arial" panose="020B0604020202020204" pitchFamily="34" charset="0"/>
              <a:buChar char="•"/>
              <a:tabLst>
                <a:tab pos="3738976" algn="l"/>
              </a:tabLst>
            </a:pPr>
            <a:r>
              <a:rPr lang="fr-FR" sz="1428" dirty="0"/>
              <a:t>Aux </a:t>
            </a:r>
            <a:r>
              <a:rPr lang="fr-FR" sz="1428" b="1" dirty="0"/>
              <a:t>citoyens</a:t>
            </a:r>
            <a:r>
              <a:rPr lang="fr-FR" sz="1428" dirty="0"/>
              <a:t> de déposer et suivre le traitement de leurs réclamations, observations et suggestions destinées aux collectivités territoriales;</a:t>
            </a:r>
          </a:p>
          <a:p>
            <a:pPr marL="291551" indent="-291551" algn="just">
              <a:lnSpc>
                <a:spcPct val="107000"/>
              </a:lnSpc>
              <a:buFont typeface="Arial" panose="020B0604020202020204" pitchFamily="34" charset="0"/>
              <a:buChar char="•"/>
              <a:tabLst>
                <a:tab pos="3738976" algn="l"/>
              </a:tabLst>
            </a:pPr>
            <a:r>
              <a:rPr lang="fr-FR" sz="1428" dirty="0"/>
              <a:t>Aux </a:t>
            </a:r>
            <a:r>
              <a:rPr lang="fr-FR" sz="1428" b="1" dirty="0"/>
              <a:t>collectivités territoriales </a:t>
            </a:r>
            <a:r>
              <a:rPr lang="fr-FR" sz="1428" dirty="0"/>
              <a:t>le traitement et suivi des demandes et les statistiques et les tableaux de bord relatifs au déroulement du traitement et du suivi des requêtes au niveau de la collectivité territoriale concernée.</a:t>
            </a:r>
          </a:p>
          <a:p>
            <a:pPr marL="291551" indent="-291551" algn="just">
              <a:lnSpc>
                <a:spcPct val="107000"/>
              </a:lnSpc>
              <a:buFont typeface="Arial" panose="020B0604020202020204" pitchFamily="34" charset="0"/>
              <a:buChar char="•"/>
              <a:tabLst>
                <a:tab pos="3738976" algn="l"/>
              </a:tabLst>
            </a:pPr>
            <a:r>
              <a:rPr lang="fr-FR" sz="1428" dirty="0"/>
              <a:t>Au </a:t>
            </a:r>
            <a:r>
              <a:rPr lang="fr-FR" sz="1428" b="1" dirty="0"/>
              <a:t>niveau central </a:t>
            </a:r>
            <a:r>
              <a:rPr lang="fr-FR" sz="1428" dirty="0"/>
              <a:t>d’avoir Les statistiques et les tableaux de bord relatifs au déroulement du traitement et du suivi des requêtes au niveau des collectivités territoriales;</a:t>
            </a:r>
          </a:p>
          <a:p>
            <a:pPr marL="291551" indent="-291551" algn="just">
              <a:lnSpc>
                <a:spcPct val="107000"/>
              </a:lnSpc>
              <a:buFont typeface="Arial" panose="020B0604020202020204" pitchFamily="34" charset="0"/>
              <a:buChar char="•"/>
              <a:tabLst>
                <a:tab pos="3738976" algn="l"/>
              </a:tabLst>
            </a:pPr>
            <a:r>
              <a:rPr lang="fr-FR" sz="1428" dirty="0"/>
              <a:t>Aux </a:t>
            </a:r>
            <a:r>
              <a:rPr lang="fr-FR" sz="1428" b="1" dirty="0"/>
              <a:t>Walis des régions et les Gouverneurs des Provinces et Préfectures</a:t>
            </a:r>
            <a:r>
              <a:rPr lang="fr-FR" sz="1428" dirty="0"/>
              <a:t> d’avoir les statistiques et les tableaux relatifs au déroulement du traitement et du suivi des demandes de leurs territoires.</a:t>
            </a:r>
          </a:p>
        </p:txBody>
      </p:sp>
      <p:sp>
        <p:nvSpPr>
          <p:cNvPr id="16" name="TextBox 6">
            <a:extLst>
              <a:ext uri="{FF2B5EF4-FFF2-40B4-BE49-F238E27FC236}">
                <a16:creationId xmlns:a16="http://schemas.microsoft.com/office/drawing/2014/main" id="{3E64EE01-FE20-432C-A8EC-64C8028A7FE0}"/>
              </a:ext>
            </a:extLst>
          </p:cNvPr>
          <p:cNvSpPr txBox="1">
            <a:spLocks/>
          </p:cNvSpPr>
          <p:nvPr/>
        </p:nvSpPr>
        <p:spPr>
          <a:xfrm>
            <a:off x="6390022" y="1811417"/>
            <a:ext cx="4813874" cy="799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defTabSz="877533" eaLnBrk="1" hangingPunct="1">
              <a:buClr>
                <a:schemeClr val="tx2"/>
              </a:buClr>
              <a:defRPr sz="1568">
                <a:latin typeface="+mn-lt"/>
              </a:defRPr>
            </a:lvl1pPr>
            <a:lvl2pPr marL="189821" lvl="1" indent="-188265" defTabSz="877533" eaLnBrk="1" hangingPunct="1">
              <a:buClr>
                <a:schemeClr val="tx2"/>
              </a:buClr>
              <a:buSzPct val="125000"/>
              <a:buFont typeface="Arial" charset="0"/>
              <a:buChar char="▪"/>
              <a:defRPr sz="1568">
                <a:latin typeface="+mn-lt"/>
              </a:defRPr>
            </a:lvl2pPr>
            <a:lvl3pPr marL="448102" lvl="2" indent="-256725" defTabSz="877533" eaLnBrk="1" hangingPunct="1">
              <a:buClr>
                <a:schemeClr val="tx2"/>
              </a:buClr>
              <a:buSzPct val="120000"/>
              <a:buFont typeface="Arial" charset="0"/>
              <a:buChar char="–"/>
              <a:defRPr sz="1568">
                <a:latin typeface="+mn-lt"/>
              </a:defRPr>
            </a:lvl3pPr>
            <a:lvl4pPr marL="602137" lvl="3" indent="-152479" defTabSz="877533" eaLnBrk="1" hangingPunct="1">
              <a:buClr>
                <a:schemeClr val="tx2"/>
              </a:buClr>
              <a:buSzPct val="120000"/>
              <a:buFont typeface="Arial" charset="0"/>
              <a:buChar char="▫"/>
              <a:defRPr sz="1568">
                <a:latin typeface="+mn-lt"/>
              </a:defRPr>
            </a:lvl4pPr>
            <a:lvl5pPr marL="731277" lvl="4" indent="-127585" defTabSz="877533" eaLnBrk="1" hangingPunct="1">
              <a:buClr>
                <a:schemeClr val="tx2"/>
              </a:buClr>
              <a:buSzPct val="89000"/>
              <a:buFont typeface="Arial" charset="0"/>
              <a:buChar char="-"/>
              <a:defRPr sz="1568">
                <a:latin typeface="+mn-lt"/>
              </a:defRPr>
            </a:lvl5pPr>
            <a:lvl6pPr marL="1179379" indent="-127585" defTabSz="877533" fontAlgn="base">
              <a:spcBef>
                <a:spcPct val="0"/>
              </a:spcBef>
              <a:spcAft>
                <a:spcPct val="0"/>
              </a:spcAft>
              <a:buClr>
                <a:schemeClr val="tx2"/>
              </a:buClr>
              <a:buSzPct val="89000"/>
              <a:buFont typeface="Arial" charset="0"/>
              <a:buChar char="-"/>
              <a:defRPr sz="1568">
                <a:latin typeface="+mn-lt"/>
              </a:defRPr>
            </a:lvl6pPr>
            <a:lvl7pPr marL="1627481" indent="-127585" defTabSz="877533" fontAlgn="base">
              <a:spcBef>
                <a:spcPct val="0"/>
              </a:spcBef>
              <a:spcAft>
                <a:spcPct val="0"/>
              </a:spcAft>
              <a:buClr>
                <a:schemeClr val="tx2"/>
              </a:buClr>
              <a:buSzPct val="89000"/>
              <a:buFont typeface="Arial" charset="0"/>
              <a:buChar char="-"/>
              <a:defRPr sz="1568">
                <a:latin typeface="+mn-lt"/>
              </a:defRPr>
            </a:lvl7pPr>
            <a:lvl8pPr marL="2075582" indent="-127585" defTabSz="877533" fontAlgn="base">
              <a:spcBef>
                <a:spcPct val="0"/>
              </a:spcBef>
              <a:spcAft>
                <a:spcPct val="0"/>
              </a:spcAft>
              <a:buClr>
                <a:schemeClr val="tx2"/>
              </a:buClr>
              <a:buSzPct val="89000"/>
              <a:buFont typeface="Arial" charset="0"/>
              <a:buChar char="-"/>
              <a:defRPr sz="1568">
                <a:latin typeface="+mn-lt"/>
              </a:defRPr>
            </a:lvl8pPr>
            <a:lvl9pPr marL="2523684" indent="-127585" defTabSz="877533" fontAlgn="base">
              <a:spcBef>
                <a:spcPct val="0"/>
              </a:spcBef>
              <a:spcAft>
                <a:spcPct val="0"/>
              </a:spcAft>
              <a:buClr>
                <a:schemeClr val="tx2"/>
              </a:buClr>
              <a:buSzPct val="89000"/>
              <a:buFont typeface="Arial" charset="0"/>
              <a:buChar char="-"/>
              <a:defRPr sz="1568">
                <a:latin typeface="+mn-lt"/>
              </a:defRPr>
            </a:lvl9pPr>
          </a:lstStyle>
          <a:p>
            <a:pPr marL="1588" lvl="1" indent="0" algn="ctr">
              <a:spcBef>
                <a:spcPts val="918"/>
              </a:spcBef>
              <a:buNone/>
            </a:pPr>
            <a:r>
              <a:rPr lang="fr-FR" sz="1428" dirty="0"/>
              <a:t>850 demandes déposées au niveau des différentes collectivités territoriales depuis le lancement de la plateforme en Juillet 2020 à Septembre</a:t>
            </a:r>
          </a:p>
        </p:txBody>
      </p:sp>
      <p:pic>
        <p:nvPicPr>
          <p:cNvPr id="17" name="Graphique 16" descr="Tendance à la hausse">
            <a:extLst>
              <a:ext uri="{FF2B5EF4-FFF2-40B4-BE49-F238E27FC236}">
                <a16:creationId xmlns:a16="http://schemas.microsoft.com/office/drawing/2014/main" id="{DC9A999E-1834-4A2B-9E68-79C6671F095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65248" y="1666865"/>
            <a:ext cx="550968" cy="550968"/>
          </a:xfrm>
          <a:prstGeom prst="rect">
            <a:avLst/>
          </a:prstGeom>
        </p:spPr>
      </p:pic>
      <p:pic>
        <p:nvPicPr>
          <p:cNvPr id="18" name="Graphique 17">
            <a:extLst>
              <a:ext uri="{FF2B5EF4-FFF2-40B4-BE49-F238E27FC236}">
                <a16:creationId xmlns:a16="http://schemas.microsoft.com/office/drawing/2014/main" id="{A269A5FD-C0D3-4E40-B12B-5A3AD8CB90E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44368" y="4702462"/>
            <a:ext cx="477506" cy="477506"/>
          </a:xfrm>
          <a:prstGeom prst="rect">
            <a:avLst/>
          </a:prstGeom>
        </p:spPr>
      </p:pic>
      <p:sp>
        <p:nvSpPr>
          <p:cNvPr id="19" name="TextBox 6">
            <a:extLst>
              <a:ext uri="{FF2B5EF4-FFF2-40B4-BE49-F238E27FC236}">
                <a16:creationId xmlns:a16="http://schemas.microsoft.com/office/drawing/2014/main" id="{98A4359B-8D49-4387-B900-B25A79E2E47D}"/>
              </a:ext>
            </a:extLst>
          </p:cNvPr>
          <p:cNvSpPr txBox="1">
            <a:spLocks/>
          </p:cNvSpPr>
          <p:nvPr/>
        </p:nvSpPr>
        <p:spPr>
          <a:xfrm>
            <a:off x="6842140" y="4839816"/>
            <a:ext cx="5071157" cy="3401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defTabSz="877533" eaLnBrk="1" hangingPunct="1">
              <a:buClr>
                <a:schemeClr val="tx2"/>
              </a:buClr>
              <a:defRPr sz="1568">
                <a:latin typeface="+mn-lt"/>
              </a:defRPr>
            </a:lvl1pPr>
            <a:lvl2pPr marL="189821" lvl="1" indent="-188265" defTabSz="877533" eaLnBrk="1" hangingPunct="1">
              <a:buClr>
                <a:schemeClr val="tx2"/>
              </a:buClr>
              <a:buSzPct val="125000"/>
              <a:buFont typeface="Arial" charset="0"/>
              <a:buChar char="▪"/>
              <a:defRPr sz="1568">
                <a:latin typeface="+mn-lt"/>
              </a:defRPr>
            </a:lvl2pPr>
            <a:lvl3pPr marL="448102" lvl="2" indent="-256725" defTabSz="877533" eaLnBrk="1" hangingPunct="1">
              <a:buClr>
                <a:schemeClr val="tx2"/>
              </a:buClr>
              <a:buSzPct val="120000"/>
              <a:buFont typeface="Arial" charset="0"/>
              <a:buChar char="–"/>
              <a:defRPr sz="1568">
                <a:latin typeface="+mn-lt"/>
              </a:defRPr>
            </a:lvl3pPr>
            <a:lvl4pPr marL="602137" lvl="3" indent="-152479" defTabSz="877533" eaLnBrk="1" hangingPunct="1">
              <a:buClr>
                <a:schemeClr val="tx2"/>
              </a:buClr>
              <a:buSzPct val="120000"/>
              <a:buFont typeface="Arial" charset="0"/>
              <a:buChar char="▫"/>
              <a:defRPr sz="1568">
                <a:latin typeface="+mn-lt"/>
              </a:defRPr>
            </a:lvl4pPr>
            <a:lvl5pPr marL="731277" lvl="4" indent="-127585" defTabSz="877533" eaLnBrk="1" hangingPunct="1">
              <a:buClr>
                <a:schemeClr val="tx2"/>
              </a:buClr>
              <a:buSzPct val="89000"/>
              <a:buFont typeface="Arial" charset="0"/>
              <a:buChar char="-"/>
              <a:defRPr sz="1568">
                <a:latin typeface="+mn-lt"/>
              </a:defRPr>
            </a:lvl5pPr>
            <a:lvl6pPr marL="1179379" indent="-127585" defTabSz="877533" fontAlgn="base">
              <a:spcBef>
                <a:spcPct val="0"/>
              </a:spcBef>
              <a:spcAft>
                <a:spcPct val="0"/>
              </a:spcAft>
              <a:buClr>
                <a:schemeClr val="tx2"/>
              </a:buClr>
              <a:buSzPct val="89000"/>
              <a:buFont typeface="Arial" charset="0"/>
              <a:buChar char="-"/>
              <a:defRPr sz="1568">
                <a:latin typeface="+mn-lt"/>
              </a:defRPr>
            </a:lvl6pPr>
            <a:lvl7pPr marL="1627481" indent="-127585" defTabSz="877533" fontAlgn="base">
              <a:spcBef>
                <a:spcPct val="0"/>
              </a:spcBef>
              <a:spcAft>
                <a:spcPct val="0"/>
              </a:spcAft>
              <a:buClr>
                <a:schemeClr val="tx2"/>
              </a:buClr>
              <a:buSzPct val="89000"/>
              <a:buFont typeface="Arial" charset="0"/>
              <a:buChar char="-"/>
              <a:defRPr sz="1568">
                <a:latin typeface="+mn-lt"/>
              </a:defRPr>
            </a:lvl7pPr>
            <a:lvl8pPr marL="2075582" indent="-127585" defTabSz="877533" fontAlgn="base">
              <a:spcBef>
                <a:spcPct val="0"/>
              </a:spcBef>
              <a:spcAft>
                <a:spcPct val="0"/>
              </a:spcAft>
              <a:buClr>
                <a:schemeClr val="tx2"/>
              </a:buClr>
              <a:buSzPct val="89000"/>
              <a:buFont typeface="Arial" charset="0"/>
              <a:buChar char="-"/>
              <a:defRPr sz="1568">
                <a:latin typeface="+mn-lt"/>
              </a:defRPr>
            </a:lvl8pPr>
            <a:lvl9pPr marL="2523684" indent="-127585" defTabSz="877533" fontAlgn="base">
              <a:spcBef>
                <a:spcPct val="0"/>
              </a:spcBef>
              <a:spcAft>
                <a:spcPct val="0"/>
              </a:spcAft>
              <a:buClr>
                <a:schemeClr val="tx2"/>
              </a:buClr>
              <a:buSzPct val="89000"/>
              <a:buFont typeface="Arial" charset="0"/>
              <a:buChar char="-"/>
              <a:defRPr sz="1568">
                <a:latin typeface="+mn-lt"/>
              </a:defRPr>
            </a:lvl9pPr>
          </a:lstStyle>
          <a:p>
            <a:pPr marL="1588" lvl="1" indent="0">
              <a:spcBef>
                <a:spcPts val="918"/>
              </a:spcBef>
              <a:buNone/>
            </a:pPr>
            <a:r>
              <a:rPr lang="fr-FR" sz="1428" dirty="0"/>
              <a:t>1593 collectivités territoriales adhérentes</a:t>
            </a:r>
          </a:p>
        </p:txBody>
      </p:sp>
      <p:pic>
        <p:nvPicPr>
          <p:cNvPr id="20" name="Graphique 19" descr="Toque d'étudiant">
            <a:extLst>
              <a:ext uri="{FF2B5EF4-FFF2-40B4-BE49-F238E27FC236}">
                <a16:creationId xmlns:a16="http://schemas.microsoft.com/office/drawing/2014/main" id="{BA1EFBEA-DB0D-4A6D-9911-AABA5A7981C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932808" y="5482505"/>
            <a:ext cx="565661" cy="565661"/>
          </a:xfrm>
          <a:prstGeom prst="rect">
            <a:avLst/>
          </a:prstGeom>
        </p:spPr>
      </p:pic>
      <p:sp>
        <p:nvSpPr>
          <p:cNvPr id="21" name="TextBox 6">
            <a:extLst>
              <a:ext uri="{FF2B5EF4-FFF2-40B4-BE49-F238E27FC236}">
                <a16:creationId xmlns:a16="http://schemas.microsoft.com/office/drawing/2014/main" id="{CAAFA288-EAD4-4929-99C4-5EA8FC1E59E5}"/>
              </a:ext>
            </a:extLst>
          </p:cNvPr>
          <p:cNvSpPr txBox="1">
            <a:spLocks/>
          </p:cNvSpPr>
          <p:nvPr/>
        </p:nvSpPr>
        <p:spPr>
          <a:xfrm>
            <a:off x="6842145" y="5391586"/>
            <a:ext cx="5071152" cy="11742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defTabSz="877533" eaLnBrk="1" hangingPunct="1">
              <a:buClr>
                <a:schemeClr val="tx2"/>
              </a:buClr>
              <a:defRPr sz="1568">
                <a:latin typeface="+mn-lt"/>
              </a:defRPr>
            </a:lvl1pPr>
            <a:lvl2pPr marL="189821" lvl="1" indent="-188265" defTabSz="877533" eaLnBrk="1" hangingPunct="1">
              <a:buClr>
                <a:schemeClr val="tx2"/>
              </a:buClr>
              <a:buSzPct val="125000"/>
              <a:buFont typeface="Arial" charset="0"/>
              <a:buChar char="▪"/>
              <a:defRPr sz="1568">
                <a:latin typeface="+mn-lt"/>
              </a:defRPr>
            </a:lvl2pPr>
            <a:lvl3pPr marL="448102" lvl="2" indent="-256725" defTabSz="877533" eaLnBrk="1" hangingPunct="1">
              <a:buClr>
                <a:schemeClr val="tx2"/>
              </a:buClr>
              <a:buSzPct val="120000"/>
              <a:buFont typeface="Arial" charset="0"/>
              <a:buChar char="–"/>
              <a:defRPr sz="1568">
                <a:latin typeface="+mn-lt"/>
              </a:defRPr>
            </a:lvl3pPr>
            <a:lvl4pPr marL="602137" lvl="3" indent="-152479" defTabSz="877533" eaLnBrk="1" hangingPunct="1">
              <a:buClr>
                <a:schemeClr val="tx2"/>
              </a:buClr>
              <a:buSzPct val="120000"/>
              <a:buFont typeface="Arial" charset="0"/>
              <a:buChar char="▫"/>
              <a:defRPr sz="1568">
                <a:latin typeface="+mn-lt"/>
              </a:defRPr>
            </a:lvl4pPr>
            <a:lvl5pPr marL="731277" lvl="4" indent="-127585" defTabSz="877533" eaLnBrk="1" hangingPunct="1">
              <a:buClr>
                <a:schemeClr val="tx2"/>
              </a:buClr>
              <a:buSzPct val="89000"/>
              <a:buFont typeface="Arial" charset="0"/>
              <a:buChar char="-"/>
              <a:defRPr sz="1568">
                <a:latin typeface="+mn-lt"/>
              </a:defRPr>
            </a:lvl5pPr>
            <a:lvl6pPr marL="1179379" indent="-127585" defTabSz="877533" fontAlgn="base">
              <a:spcBef>
                <a:spcPct val="0"/>
              </a:spcBef>
              <a:spcAft>
                <a:spcPct val="0"/>
              </a:spcAft>
              <a:buClr>
                <a:schemeClr val="tx2"/>
              </a:buClr>
              <a:buSzPct val="89000"/>
              <a:buFont typeface="Arial" charset="0"/>
              <a:buChar char="-"/>
              <a:defRPr sz="1568">
                <a:latin typeface="+mn-lt"/>
              </a:defRPr>
            </a:lvl6pPr>
            <a:lvl7pPr marL="1627481" indent="-127585" defTabSz="877533" fontAlgn="base">
              <a:spcBef>
                <a:spcPct val="0"/>
              </a:spcBef>
              <a:spcAft>
                <a:spcPct val="0"/>
              </a:spcAft>
              <a:buClr>
                <a:schemeClr val="tx2"/>
              </a:buClr>
              <a:buSzPct val="89000"/>
              <a:buFont typeface="Arial" charset="0"/>
              <a:buChar char="-"/>
              <a:defRPr sz="1568">
                <a:latin typeface="+mn-lt"/>
              </a:defRPr>
            </a:lvl7pPr>
            <a:lvl8pPr marL="2075582" indent="-127585" defTabSz="877533" fontAlgn="base">
              <a:spcBef>
                <a:spcPct val="0"/>
              </a:spcBef>
              <a:spcAft>
                <a:spcPct val="0"/>
              </a:spcAft>
              <a:buClr>
                <a:schemeClr val="tx2"/>
              </a:buClr>
              <a:buSzPct val="89000"/>
              <a:buFont typeface="Arial" charset="0"/>
              <a:buChar char="-"/>
              <a:defRPr sz="1568">
                <a:latin typeface="+mn-lt"/>
              </a:defRPr>
            </a:lvl8pPr>
            <a:lvl9pPr marL="2523684" indent="-127585" defTabSz="877533" fontAlgn="base">
              <a:spcBef>
                <a:spcPct val="0"/>
              </a:spcBef>
              <a:spcAft>
                <a:spcPct val="0"/>
              </a:spcAft>
              <a:buClr>
                <a:schemeClr val="tx2"/>
              </a:buClr>
              <a:buSzPct val="89000"/>
              <a:buFont typeface="Arial" charset="0"/>
              <a:buChar char="-"/>
              <a:defRPr sz="1568">
                <a:latin typeface="+mn-lt"/>
              </a:defRPr>
            </a:lvl9pPr>
          </a:lstStyle>
          <a:p>
            <a:pPr marL="1588" lvl="1" indent="0">
              <a:spcBef>
                <a:spcPts val="918"/>
              </a:spcBef>
              <a:buNone/>
            </a:pPr>
            <a:r>
              <a:rPr lang="fr-FR" sz="1428" dirty="0"/>
              <a:t>6 formations de 2 jours pour les formateurs centraux et régionaux, nombre moyen des participants 20 personnes par formation</a:t>
            </a:r>
          </a:p>
          <a:p>
            <a:pPr marL="1588" lvl="1" indent="0">
              <a:spcBef>
                <a:spcPts val="918"/>
              </a:spcBef>
              <a:buNone/>
            </a:pPr>
            <a:r>
              <a:rPr lang="fr-FR" sz="1428" dirty="0"/>
              <a:t>Plusieurs formations des utilisateurs assurer par les formateurs centraux et régionaux </a:t>
            </a:r>
          </a:p>
        </p:txBody>
      </p:sp>
      <p:graphicFrame>
        <p:nvGraphicFramePr>
          <p:cNvPr id="23" name="Graphique 22">
            <a:extLst>
              <a:ext uri="{FF2B5EF4-FFF2-40B4-BE49-F238E27FC236}">
                <a16:creationId xmlns:a16="http://schemas.microsoft.com/office/drawing/2014/main" id="{9A47E33E-5A60-469A-B320-45351D8D6502}"/>
              </a:ext>
            </a:extLst>
          </p:cNvPr>
          <p:cNvGraphicFramePr>
            <a:graphicFrameLocks/>
          </p:cNvGraphicFramePr>
          <p:nvPr/>
        </p:nvGraphicFramePr>
        <p:xfrm>
          <a:off x="6040732" y="2607299"/>
          <a:ext cx="5646697" cy="203286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209807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10">
            <a:extLst>
              <a:ext uri="{FF2B5EF4-FFF2-40B4-BE49-F238E27FC236}">
                <a16:creationId xmlns:a16="http://schemas.microsoft.com/office/drawing/2014/main" id="{238BFD3F-BAA3-403F-82CF-7421803776B2}"/>
              </a:ext>
            </a:extLst>
          </p:cNvPr>
          <p:cNvSpPr txBox="1"/>
          <p:nvPr/>
        </p:nvSpPr>
        <p:spPr>
          <a:xfrm>
            <a:off x="168025" y="1194205"/>
            <a:ext cx="9378547" cy="2884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1193860" eaLnBrk="1" hangingPunct="1">
              <a:buClr>
                <a:schemeClr val="tx2"/>
              </a:buClr>
              <a:defRPr baseline="0">
                <a:latin typeface="+mn-lt"/>
                <a:sym typeface="+mn-lt"/>
              </a:defRPr>
            </a:lvl1pPr>
            <a:lvl2pPr marL="180000" lvl="1" indent="-180000" defTabSz="1193860" eaLnBrk="1" hangingPunct="1">
              <a:buClr>
                <a:schemeClr val="tx2"/>
              </a:buClr>
              <a:buSzPct val="125000"/>
              <a:buFont typeface="Arial" pitchFamily="34" charset="0"/>
              <a:buChar char="•"/>
              <a:defRPr baseline="0">
                <a:latin typeface="+mn-lt"/>
                <a:sym typeface="+mn-lt"/>
              </a:defRPr>
            </a:lvl2pPr>
            <a:lvl3pPr marL="360000" lvl="2" indent="-180000" defTabSz="1193860" eaLnBrk="1" hangingPunct="1">
              <a:buClr>
                <a:schemeClr val="tx2"/>
              </a:buClr>
              <a:buSzPct val="120000"/>
              <a:buFont typeface="Arial" charset="0"/>
              <a:buChar char="–"/>
              <a:defRPr baseline="0">
                <a:latin typeface="+mn-lt"/>
                <a:sym typeface="+mn-lt"/>
              </a:defRPr>
            </a:lvl3pPr>
            <a:lvl4pPr marL="540000" lvl="3" indent="-180000" defTabSz="1193860" eaLnBrk="1" hangingPunct="1">
              <a:buClr>
                <a:schemeClr val="tx2"/>
              </a:buClr>
              <a:buSzPct val="120000"/>
              <a:buFont typeface="Arial" pitchFamily="34" charset="0"/>
              <a:buChar char="◦"/>
              <a:defRPr baseline="0">
                <a:latin typeface="+mn-lt"/>
                <a:sym typeface="+mn-lt"/>
              </a:defRPr>
            </a:lvl4pPr>
            <a:lvl5pPr marL="720000" lvl="4" indent="-180000" defTabSz="1193860" eaLnBrk="1" hangingPunct="1">
              <a:buClr>
                <a:schemeClr val="tx2"/>
              </a:buClr>
              <a:buSzPct val="89000"/>
              <a:buFont typeface="Arial" charset="0"/>
              <a:buChar char="-"/>
              <a:defRPr baseline="0">
                <a:latin typeface="+mn-lt"/>
                <a:sym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fr-FR" sz="1837" b="1" dirty="0">
                <a:solidFill>
                  <a:schemeClr val="accent4"/>
                </a:solidFill>
              </a:rPr>
              <a:t>Cible : Citoyens, Communes</a:t>
            </a:r>
          </a:p>
        </p:txBody>
      </p:sp>
      <p:cxnSp>
        <p:nvCxnSpPr>
          <p:cNvPr id="9" name="Straight Connector 66">
            <a:extLst>
              <a:ext uri="{FF2B5EF4-FFF2-40B4-BE49-F238E27FC236}">
                <a16:creationId xmlns:a16="http://schemas.microsoft.com/office/drawing/2014/main" id="{CB3EBCCA-DDDB-4341-BF1A-E44CFE96EA35}"/>
              </a:ext>
            </a:extLst>
          </p:cNvPr>
          <p:cNvCxnSpPr>
            <a:cxnSpLocks/>
          </p:cNvCxnSpPr>
          <p:nvPr/>
        </p:nvCxnSpPr>
        <p:spPr>
          <a:xfrm>
            <a:off x="168026" y="1558778"/>
            <a:ext cx="1174541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0" name="Group 7">
            <a:extLst>
              <a:ext uri="{FF2B5EF4-FFF2-40B4-BE49-F238E27FC236}">
                <a16:creationId xmlns:a16="http://schemas.microsoft.com/office/drawing/2014/main" id="{6D58FB2A-A3A6-4543-BE3E-45AE20E8B26B}"/>
              </a:ext>
            </a:extLst>
          </p:cNvPr>
          <p:cNvGrpSpPr/>
          <p:nvPr/>
        </p:nvGrpSpPr>
        <p:grpSpPr>
          <a:xfrm>
            <a:off x="5394819" y="1769344"/>
            <a:ext cx="388627" cy="4689572"/>
            <a:chOff x="5181181" y="1713338"/>
            <a:chExt cx="380895" cy="4596282"/>
          </a:xfrm>
        </p:grpSpPr>
        <p:cxnSp>
          <p:nvCxnSpPr>
            <p:cNvPr id="11" name="LineBasicVerticalDefault 31">
              <a:extLst>
                <a:ext uri="{FF2B5EF4-FFF2-40B4-BE49-F238E27FC236}">
                  <a16:creationId xmlns:a16="http://schemas.microsoft.com/office/drawing/2014/main" id="{78690618-B4F0-47D8-9CCB-C03C90650323}"/>
                </a:ext>
              </a:extLst>
            </p:cNvPr>
            <p:cNvCxnSpPr>
              <a:cxnSpLocks/>
            </p:cNvCxnSpPr>
            <p:nvPr>
              <p:custDataLst>
                <p:tags r:id="rId1"/>
              </p:custDataLst>
            </p:nvPr>
          </p:nvCxnSpPr>
          <p:spPr>
            <a:xfrm>
              <a:off x="5371629" y="1713338"/>
              <a:ext cx="0" cy="4596282"/>
            </a:xfrm>
            <a:prstGeom prst="straightConnector1">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2" name="Group 44">
              <a:extLst>
                <a:ext uri="{FF2B5EF4-FFF2-40B4-BE49-F238E27FC236}">
                  <a16:creationId xmlns:a16="http://schemas.microsoft.com/office/drawing/2014/main" id="{76500981-7764-4230-993E-C6B57E8A48B4}"/>
                </a:ext>
              </a:extLst>
            </p:cNvPr>
            <p:cNvGrpSpPr/>
            <p:nvPr/>
          </p:nvGrpSpPr>
          <p:grpSpPr>
            <a:xfrm flipV="1">
              <a:off x="5181181" y="3826814"/>
              <a:ext cx="380895" cy="369331"/>
              <a:chOff x="5381303" y="3432175"/>
              <a:chExt cx="193080" cy="253363"/>
            </a:xfrm>
            <a:solidFill>
              <a:schemeClr val="tx2"/>
            </a:solidFill>
          </p:grpSpPr>
          <p:sp>
            <p:nvSpPr>
              <p:cNvPr id="13" name="Chevron 125">
                <a:extLst>
                  <a:ext uri="{FF2B5EF4-FFF2-40B4-BE49-F238E27FC236}">
                    <a16:creationId xmlns:a16="http://schemas.microsoft.com/office/drawing/2014/main" id="{B9896476-2A38-4CD1-B461-2F0AFBE41D0A}"/>
                  </a:ext>
                </a:extLst>
              </p:cNvPr>
              <p:cNvSpPr/>
              <p:nvPr/>
            </p:nvSpPr>
            <p:spPr>
              <a:xfrm>
                <a:off x="5418865" y="3432175"/>
                <a:ext cx="155518" cy="253363"/>
              </a:xfrm>
              <a:prstGeom prst="chevron">
                <a:avLst>
                  <a:gd name="adj" fmla="val 43408"/>
                </a:avLst>
              </a:prstGeom>
              <a:grp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sz="1837" dirty="0"/>
              </a:p>
            </p:txBody>
          </p:sp>
          <p:sp>
            <p:nvSpPr>
              <p:cNvPr id="14" name="Chevron 127">
                <a:extLst>
                  <a:ext uri="{FF2B5EF4-FFF2-40B4-BE49-F238E27FC236}">
                    <a16:creationId xmlns:a16="http://schemas.microsoft.com/office/drawing/2014/main" id="{C90B0325-AE1C-4E30-AAF2-257A51DCF131}"/>
                  </a:ext>
                </a:extLst>
              </p:cNvPr>
              <p:cNvSpPr/>
              <p:nvPr/>
            </p:nvSpPr>
            <p:spPr>
              <a:xfrm>
                <a:off x="5381303" y="3484256"/>
                <a:ext cx="85075" cy="149200"/>
              </a:xfrm>
              <a:prstGeom prst="chevron">
                <a:avLst>
                  <a:gd name="adj" fmla="val 46728"/>
                </a:avLst>
              </a:prstGeom>
              <a:solidFill>
                <a:schemeClr val="accent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sz="1837" dirty="0"/>
              </a:p>
            </p:txBody>
          </p:sp>
        </p:grpSp>
      </p:grpSp>
      <p:sp>
        <p:nvSpPr>
          <p:cNvPr id="16" name="Titre 1">
            <a:extLst>
              <a:ext uri="{FF2B5EF4-FFF2-40B4-BE49-F238E27FC236}">
                <a16:creationId xmlns:a16="http://schemas.microsoft.com/office/drawing/2014/main" id="{68CB6FEE-82EA-4DF7-B8D6-9A98FF1E6862}"/>
              </a:ext>
            </a:extLst>
          </p:cNvPr>
          <p:cNvSpPr>
            <a:spLocks noGrp="1"/>
          </p:cNvSpPr>
          <p:nvPr>
            <p:ph type="title"/>
          </p:nvPr>
        </p:nvSpPr>
        <p:spPr>
          <a:xfrm>
            <a:off x="233346" y="283038"/>
            <a:ext cx="10514229" cy="376834"/>
          </a:xfrm>
        </p:spPr>
        <p:txBody>
          <a:bodyPr/>
          <a:lstStyle/>
          <a:p>
            <a:r>
              <a:rPr lang="fr-FR" dirty="0"/>
              <a:t>La refonte de la plateforme WATIQA </a:t>
            </a:r>
            <a:endParaRPr lang="fr-MA" dirty="0"/>
          </a:p>
        </p:txBody>
      </p:sp>
      <p:sp>
        <p:nvSpPr>
          <p:cNvPr id="2" name="Rectangle 1">
            <a:extLst>
              <a:ext uri="{FF2B5EF4-FFF2-40B4-BE49-F238E27FC236}">
                <a16:creationId xmlns:a16="http://schemas.microsoft.com/office/drawing/2014/main" id="{D67EA827-16F8-42D3-9381-D8B2994B29C0}"/>
              </a:ext>
            </a:extLst>
          </p:cNvPr>
          <p:cNvSpPr/>
          <p:nvPr/>
        </p:nvSpPr>
        <p:spPr>
          <a:xfrm>
            <a:off x="314688" y="1677007"/>
            <a:ext cx="4961424" cy="4782078"/>
          </a:xfrm>
          <a:prstGeom prst="rect">
            <a:avLst/>
          </a:prstGeom>
        </p:spPr>
        <p:txBody>
          <a:bodyPr wrap="square">
            <a:spAutoFit/>
          </a:bodyPr>
          <a:lstStyle/>
          <a:p>
            <a:pPr algn="just">
              <a:lnSpc>
                <a:spcPct val="107000"/>
              </a:lnSpc>
              <a:tabLst>
                <a:tab pos="3738976" algn="l"/>
              </a:tabLst>
            </a:pPr>
            <a:r>
              <a:rPr lang="fr-FR" sz="1428" dirty="0"/>
              <a:t>Ce chantier consiste à la refonte de la plateforme WATIQA qui est un guichet électronique de commande de documents administratifs, dans une perspective de la généraliser courant de l’année 2021 et l’intégration de l’ensemble des Bureau d’état civile.</a:t>
            </a:r>
          </a:p>
          <a:p>
            <a:pPr algn="just"/>
            <a:endParaRPr lang="fr-FR" sz="1428" dirty="0"/>
          </a:p>
          <a:p>
            <a:pPr algn="just"/>
            <a:r>
              <a:rPr lang="fr-FR" sz="1428" dirty="0"/>
              <a:t>La plateforme permet de:</a:t>
            </a:r>
            <a:endParaRPr lang="fr-MA" sz="1428" dirty="0"/>
          </a:p>
          <a:p>
            <a:pPr algn="just"/>
            <a:endParaRPr lang="fr-MA" sz="1428" dirty="0"/>
          </a:p>
          <a:p>
            <a:pPr marL="291551" indent="-291551">
              <a:lnSpc>
                <a:spcPct val="150000"/>
              </a:lnSpc>
              <a:buFont typeface="Arial" panose="020B0604020202020204" pitchFamily="34" charset="0"/>
              <a:buChar char="•"/>
            </a:pPr>
            <a:r>
              <a:rPr lang="fr-FR" sz="1428" dirty="0"/>
              <a:t>Faire une commander en ligne les documents administratifs ;</a:t>
            </a:r>
            <a:endParaRPr lang="fr-MA" sz="1428" dirty="0"/>
          </a:p>
          <a:p>
            <a:pPr marL="291551" indent="-291551">
              <a:lnSpc>
                <a:spcPct val="150000"/>
              </a:lnSpc>
              <a:buFont typeface="Arial" panose="020B0604020202020204" pitchFamily="34" charset="0"/>
              <a:buChar char="•"/>
            </a:pPr>
            <a:r>
              <a:rPr lang="fr-FR" sz="1428" dirty="0"/>
              <a:t>Régler en ligne les frais afférents ;</a:t>
            </a:r>
            <a:endParaRPr lang="fr-MA" sz="1428" dirty="0"/>
          </a:p>
          <a:p>
            <a:pPr marL="291551" indent="-291551">
              <a:lnSpc>
                <a:spcPct val="150000"/>
              </a:lnSpc>
              <a:buFont typeface="Arial" panose="020B0604020202020204" pitchFamily="34" charset="0"/>
              <a:buChar char="•"/>
            </a:pPr>
            <a:r>
              <a:rPr lang="fr-FR" sz="1428" dirty="0"/>
              <a:t>Recevoir le document commandé par voix postal  recommandé ou simple ;</a:t>
            </a:r>
            <a:endParaRPr lang="fr-MA" sz="1428" dirty="0"/>
          </a:p>
          <a:p>
            <a:pPr marL="291551" indent="-291551">
              <a:lnSpc>
                <a:spcPct val="150000"/>
              </a:lnSpc>
              <a:buFont typeface="Arial" panose="020B0604020202020204" pitchFamily="34" charset="0"/>
              <a:buChar char="•"/>
            </a:pPr>
            <a:r>
              <a:rPr lang="fr-FR" sz="1428" dirty="0"/>
              <a:t>Recevoir une notification lorsque le document est prêt pour le récupérer au niveau du guichet physique de l’administration</a:t>
            </a:r>
          </a:p>
          <a:p>
            <a:pPr lvl="1" algn="just">
              <a:lnSpc>
                <a:spcPct val="107000"/>
              </a:lnSpc>
              <a:tabLst>
                <a:tab pos="3738976" algn="l"/>
              </a:tabLst>
            </a:pPr>
            <a:endParaRPr lang="fr-MA" sz="1428" dirty="0"/>
          </a:p>
        </p:txBody>
      </p:sp>
      <p:sp>
        <p:nvSpPr>
          <p:cNvPr id="19" name="Rectangle 18">
            <a:extLst>
              <a:ext uri="{FF2B5EF4-FFF2-40B4-BE49-F238E27FC236}">
                <a16:creationId xmlns:a16="http://schemas.microsoft.com/office/drawing/2014/main" id="{93F65DC0-2C74-4089-869F-D087E58AEB25}"/>
              </a:ext>
            </a:extLst>
          </p:cNvPr>
          <p:cNvSpPr/>
          <p:nvPr/>
        </p:nvSpPr>
        <p:spPr>
          <a:xfrm>
            <a:off x="5738478" y="1913822"/>
            <a:ext cx="6093480" cy="2945059"/>
          </a:xfrm>
          <a:prstGeom prst="rect">
            <a:avLst/>
          </a:prstGeom>
        </p:spPr>
        <p:txBody>
          <a:bodyPr>
            <a:spAutoFit/>
          </a:bodyPr>
          <a:lstStyle/>
          <a:p>
            <a:pPr marL="291551" indent="-291551">
              <a:lnSpc>
                <a:spcPct val="150000"/>
              </a:lnSpc>
              <a:buFontTx/>
              <a:buChar char="-"/>
            </a:pPr>
            <a:endParaRPr lang="fr-FR" sz="1428" dirty="0"/>
          </a:p>
          <a:p>
            <a:pPr lvl="0">
              <a:lnSpc>
                <a:spcPct val="150000"/>
              </a:lnSpc>
            </a:pPr>
            <a:endParaRPr lang="fr-FR" sz="1428" dirty="0"/>
          </a:p>
          <a:p>
            <a:pPr marL="291551" indent="-291551">
              <a:lnSpc>
                <a:spcPct val="150000"/>
              </a:lnSpc>
              <a:buFontTx/>
              <a:buChar char="-"/>
            </a:pPr>
            <a:endParaRPr lang="fr-FR" sz="1428" dirty="0"/>
          </a:p>
          <a:p>
            <a:pPr lvl="0">
              <a:lnSpc>
                <a:spcPct val="150000"/>
              </a:lnSpc>
            </a:pPr>
            <a:endParaRPr lang="fr-FR" sz="1428" dirty="0"/>
          </a:p>
          <a:p>
            <a:pPr lvl="0">
              <a:lnSpc>
                <a:spcPct val="150000"/>
              </a:lnSpc>
            </a:pPr>
            <a:endParaRPr lang="fr-FR" sz="1428" dirty="0"/>
          </a:p>
          <a:p>
            <a:pPr lvl="0">
              <a:lnSpc>
                <a:spcPct val="150000"/>
              </a:lnSpc>
            </a:pPr>
            <a:endParaRPr lang="fr-MA" sz="1428" dirty="0"/>
          </a:p>
          <a:p>
            <a:pPr marL="174930" indent="-174930" algn="just">
              <a:buFontTx/>
              <a:buChar char="-"/>
              <a:tabLst>
                <a:tab pos="3738976" algn="l"/>
              </a:tabLst>
            </a:pPr>
            <a:endParaRPr lang="fr-MA" sz="1428" dirty="0"/>
          </a:p>
          <a:p>
            <a:pPr marL="174930" indent="-174930" algn="just">
              <a:buFontTx/>
              <a:buChar char="-"/>
              <a:tabLst>
                <a:tab pos="3738976" algn="l"/>
              </a:tabLst>
            </a:pPr>
            <a:endParaRPr lang="fr-FR" sz="1428" dirty="0"/>
          </a:p>
          <a:p>
            <a:pPr marL="174930" indent="-174930" algn="just">
              <a:buFontTx/>
              <a:buChar char="-"/>
              <a:tabLst>
                <a:tab pos="3738976" algn="l"/>
              </a:tabLst>
            </a:pPr>
            <a:endParaRPr lang="fr-FR" sz="1224" dirty="0"/>
          </a:p>
          <a:p>
            <a:pPr algn="just">
              <a:tabLst>
                <a:tab pos="3738976" algn="l"/>
              </a:tabLst>
            </a:pPr>
            <a:endParaRPr lang="fr-MA" sz="1224" dirty="0"/>
          </a:p>
        </p:txBody>
      </p:sp>
      <p:pic>
        <p:nvPicPr>
          <p:cNvPr id="21" name="Graphique 20" descr="Toque d'étudiant">
            <a:extLst>
              <a:ext uri="{FF2B5EF4-FFF2-40B4-BE49-F238E27FC236}">
                <a16:creationId xmlns:a16="http://schemas.microsoft.com/office/drawing/2014/main" id="{C271EEBC-DA05-4E0B-8F11-5A8BB522A1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971436" y="5316644"/>
            <a:ext cx="565661" cy="565661"/>
          </a:xfrm>
          <a:prstGeom prst="rect">
            <a:avLst/>
          </a:prstGeom>
        </p:spPr>
      </p:pic>
      <p:sp>
        <p:nvSpPr>
          <p:cNvPr id="22" name="TextBox 6">
            <a:extLst>
              <a:ext uri="{FF2B5EF4-FFF2-40B4-BE49-F238E27FC236}">
                <a16:creationId xmlns:a16="http://schemas.microsoft.com/office/drawing/2014/main" id="{40986B66-9450-4D25-A2EA-BED86AB6F80F}"/>
              </a:ext>
            </a:extLst>
          </p:cNvPr>
          <p:cNvSpPr txBox="1">
            <a:spLocks/>
          </p:cNvSpPr>
          <p:nvPr/>
        </p:nvSpPr>
        <p:spPr>
          <a:xfrm>
            <a:off x="6838060" y="5300884"/>
            <a:ext cx="4813874" cy="5656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lvl="0" defTabSz="877533" eaLnBrk="1" hangingPunct="1">
              <a:buClr>
                <a:schemeClr val="tx2"/>
              </a:buClr>
              <a:defRPr sz="1568">
                <a:latin typeface="+mn-lt"/>
              </a:defRPr>
            </a:lvl1pPr>
            <a:lvl2pPr marL="189821" lvl="1" indent="-188265" defTabSz="877533" eaLnBrk="1" hangingPunct="1">
              <a:buClr>
                <a:schemeClr val="tx2"/>
              </a:buClr>
              <a:buSzPct val="125000"/>
              <a:buFont typeface="Arial" charset="0"/>
              <a:buChar char="▪"/>
              <a:defRPr sz="1568">
                <a:latin typeface="+mn-lt"/>
              </a:defRPr>
            </a:lvl2pPr>
            <a:lvl3pPr marL="448102" lvl="2" indent="-256725" defTabSz="877533" eaLnBrk="1" hangingPunct="1">
              <a:buClr>
                <a:schemeClr val="tx2"/>
              </a:buClr>
              <a:buSzPct val="120000"/>
              <a:buFont typeface="Arial" charset="0"/>
              <a:buChar char="–"/>
              <a:defRPr sz="1568">
                <a:latin typeface="+mn-lt"/>
              </a:defRPr>
            </a:lvl3pPr>
            <a:lvl4pPr marL="602137" lvl="3" indent="-152479" defTabSz="877533" eaLnBrk="1" hangingPunct="1">
              <a:buClr>
                <a:schemeClr val="tx2"/>
              </a:buClr>
              <a:buSzPct val="120000"/>
              <a:buFont typeface="Arial" charset="0"/>
              <a:buChar char="▫"/>
              <a:defRPr sz="1568">
                <a:latin typeface="+mn-lt"/>
              </a:defRPr>
            </a:lvl4pPr>
            <a:lvl5pPr marL="731277" lvl="4" indent="-127585" defTabSz="877533" eaLnBrk="1" hangingPunct="1">
              <a:buClr>
                <a:schemeClr val="tx2"/>
              </a:buClr>
              <a:buSzPct val="89000"/>
              <a:buFont typeface="Arial" charset="0"/>
              <a:buChar char="-"/>
              <a:defRPr sz="1568">
                <a:latin typeface="+mn-lt"/>
              </a:defRPr>
            </a:lvl5pPr>
            <a:lvl6pPr marL="1179379" indent="-127585" defTabSz="877533" fontAlgn="base">
              <a:spcBef>
                <a:spcPct val="0"/>
              </a:spcBef>
              <a:spcAft>
                <a:spcPct val="0"/>
              </a:spcAft>
              <a:buClr>
                <a:schemeClr val="tx2"/>
              </a:buClr>
              <a:buSzPct val="89000"/>
              <a:buFont typeface="Arial" charset="0"/>
              <a:buChar char="-"/>
              <a:defRPr sz="1568">
                <a:latin typeface="+mn-lt"/>
              </a:defRPr>
            </a:lvl6pPr>
            <a:lvl7pPr marL="1627481" indent="-127585" defTabSz="877533" fontAlgn="base">
              <a:spcBef>
                <a:spcPct val="0"/>
              </a:spcBef>
              <a:spcAft>
                <a:spcPct val="0"/>
              </a:spcAft>
              <a:buClr>
                <a:schemeClr val="tx2"/>
              </a:buClr>
              <a:buSzPct val="89000"/>
              <a:buFont typeface="Arial" charset="0"/>
              <a:buChar char="-"/>
              <a:defRPr sz="1568">
                <a:latin typeface="+mn-lt"/>
              </a:defRPr>
            </a:lvl7pPr>
            <a:lvl8pPr marL="2075582" indent="-127585" defTabSz="877533" fontAlgn="base">
              <a:spcBef>
                <a:spcPct val="0"/>
              </a:spcBef>
              <a:spcAft>
                <a:spcPct val="0"/>
              </a:spcAft>
              <a:buClr>
                <a:schemeClr val="tx2"/>
              </a:buClr>
              <a:buSzPct val="89000"/>
              <a:buFont typeface="Arial" charset="0"/>
              <a:buChar char="-"/>
              <a:defRPr sz="1568">
                <a:latin typeface="+mn-lt"/>
              </a:defRPr>
            </a:lvl8pPr>
            <a:lvl9pPr marL="2523684" indent="-127585" defTabSz="877533" fontAlgn="base">
              <a:spcBef>
                <a:spcPct val="0"/>
              </a:spcBef>
              <a:spcAft>
                <a:spcPct val="0"/>
              </a:spcAft>
              <a:buClr>
                <a:schemeClr val="tx2"/>
              </a:buClr>
              <a:buSzPct val="89000"/>
              <a:buFont typeface="Arial" charset="0"/>
              <a:buChar char="-"/>
              <a:defRPr sz="1568">
                <a:latin typeface="+mn-lt"/>
              </a:defRPr>
            </a:lvl9pPr>
          </a:lstStyle>
          <a:p>
            <a:pPr marL="1588" lvl="1" indent="0">
              <a:spcBef>
                <a:spcPts val="918"/>
              </a:spcBef>
              <a:buNone/>
            </a:pPr>
            <a:r>
              <a:rPr lang="fr-FR" sz="1428" dirty="0"/>
              <a:t>2 formations des formateurs  en ligne en Mai 2020,ces formateurs  ont assuré à leur tour une dizaine de formations au profit au profit des agents des bureaux d’état civil.</a:t>
            </a:r>
          </a:p>
        </p:txBody>
      </p:sp>
      <p:sp>
        <p:nvSpPr>
          <p:cNvPr id="15" name="ZoneTexte 14">
            <a:extLst>
              <a:ext uri="{FF2B5EF4-FFF2-40B4-BE49-F238E27FC236}">
                <a16:creationId xmlns:a16="http://schemas.microsoft.com/office/drawing/2014/main" id="{34472EC4-A17A-45D8-A42A-083A2FF1C7E6}"/>
              </a:ext>
            </a:extLst>
          </p:cNvPr>
          <p:cNvSpPr txBox="1"/>
          <p:nvPr/>
        </p:nvSpPr>
        <p:spPr>
          <a:xfrm>
            <a:off x="6096000" y="1831873"/>
            <a:ext cx="6103199" cy="271542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just">
              <a:lnSpc>
                <a:spcPct val="107000"/>
              </a:lnSpc>
              <a:tabLst>
                <a:tab pos="3738976" algn="l"/>
              </a:tabLst>
            </a:pPr>
            <a:endParaRPr lang="fr-FR" sz="1428" dirty="0"/>
          </a:p>
          <a:p>
            <a:pPr algn="just">
              <a:lnSpc>
                <a:spcPct val="107000"/>
              </a:lnSpc>
              <a:tabLst>
                <a:tab pos="3738976" algn="l"/>
              </a:tabLst>
            </a:pPr>
            <a:r>
              <a:rPr lang="fr-FR" sz="1428" dirty="0"/>
              <a:t>L’objectif c’est l’amélioration de l’expérience utilisateur par :</a:t>
            </a:r>
          </a:p>
          <a:p>
            <a:pPr marL="758032" lvl="1" indent="-291551" algn="just">
              <a:lnSpc>
                <a:spcPct val="107000"/>
              </a:lnSpc>
              <a:buFont typeface="Wingdings" panose="05000000000000000000" pitchFamily="2" charset="2"/>
              <a:buChar char="§"/>
              <a:tabLst>
                <a:tab pos="3738976" algn="l"/>
              </a:tabLst>
            </a:pPr>
            <a:r>
              <a:rPr lang="fr-FR" sz="1428" dirty="0"/>
              <a:t>Refonte de la charte graphique</a:t>
            </a:r>
          </a:p>
          <a:p>
            <a:pPr marL="758032" lvl="1" indent="-291551" algn="just">
              <a:lnSpc>
                <a:spcPct val="107000"/>
              </a:lnSpc>
              <a:buFont typeface="Wingdings" panose="05000000000000000000" pitchFamily="2" charset="2"/>
              <a:buChar char="§"/>
              <a:tabLst>
                <a:tab pos="3738976" algn="l"/>
              </a:tabLst>
            </a:pPr>
            <a:r>
              <a:rPr lang="fr-FR" sz="1428" dirty="0"/>
              <a:t>Simplification des formulaires</a:t>
            </a:r>
          </a:p>
          <a:p>
            <a:pPr marL="758032" lvl="1" indent="-291551" algn="just">
              <a:lnSpc>
                <a:spcPct val="107000"/>
              </a:lnSpc>
              <a:buFont typeface="Wingdings" panose="05000000000000000000" pitchFamily="2" charset="2"/>
              <a:buChar char="§"/>
              <a:tabLst>
                <a:tab pos="3738976" algn="l"/>
              </a:tabLst>
            </a:pPr>
            <a:r>
              <a:rPr lang="fr-FR" sz="1428" dirty="0"/>
              <a:t>Amélioration du processus de paiement électronique (rendre possible d’annuler le paiement en cas ou le citoyen n’est pas satisfait); </a:t>
            </a:r>
          </a:p>
          <a:p>
            <a:pPr marL="758032" lvl="1" indent="-291551" algn="just">
              <a:lnSpc>
                <a:spcPct val="107000"/>
              </a:lnSpc>
              <a:buFont typeface="Wingdings" panose="05000000000000000000" pitchFamily="2" charset="2"/>
              <a:buChar char="§"/>
              <a:tabLst>
                <a:tab pos="3738976" algn="l"/>
              </a:tabLst>
            </a:pPr>
            <a:r>
              <a:rPr lang="fr-FR" sz="1428" dirty="0"/>
              <a:t>Possibilité d’annuler une commande;</a:t>
            </a:r>
          </a:p>
          <a:p>
            <a:pPr marL="758032" lvl="1" indent="-291551" algn="just">
              <a:lnSpc>
                <a:spcPct val="107000"/>
              </a:lnSpc>
              <a:buFont typeface="Wingdings" panose="05000000000000000000" pitchFamily="2" charset="2"/>
              <a:buChar char="§"/>
              <a:tabLst>
                <a:tab pos="3738976" algn="l"/>
              </a:tabLst>
            </a:pPr>
            <a:r>
              <a:rPr lang="fr-FR" sz="1428" dirty="0"/>
              <a:t>Suivi de la délivrance du document depuis la préparation jusqu’à la réception</a:t>
            </a:r>
          </a:p>
          <a:p>
            <a:pPr marL="758032" lvl="1" indent="-291551" algn="just">
              <a:lnSpc>
                <a:spcPct val="107000"/>
              </a:lnSpc>
              <a:buFont typeface="Wingdings" panose="05000000000000000000" pitchFamily="2" charset="2"/>
              <a:buChar char="§"/>
              <a:tabLst>
                <a:tab pos="3738976" algn="l"/>
              </a:tabLst>
            </a:pPr>
            <a:r>
              <a:rPr lang="fr-FR" sz="1428" dirty="0"/>
              <a:t>Ajout des notifications par SMS.</a:t>
            </a:r>
          </a:p>
        </p:txBody>
      </p:sp>
      <p:pic>
        <p:nvPicPr>
          <p:cNvPr id="5" name="Graphique 4" descr="Mille">
            <a:extLst>
              <a:ext uri="{FF2B5EF4-FFF2-40B4-BE49-F238E27FC236}">
                <a16:creationId xmlns:a16="http://schemas.microsoft.com/office/drawing/2014/main" id="{02B8519D-1A0E-4AAE-A419-A62EEFCE317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70224" y="2888359"/>
            <a:ext cx="550968" cy="550968"/>
          </a:xfrm>
          <a:prstGeom prst="rect">
            <a:avLst/>
          </a:prstGeom>
        </p:spPr>
      </p:pic>
    </p:spTree>
    <p:extLst>
      <p:ext uri="{BB962C8B-B14F-4D97-AF65-F5344CB8AC3E}">
        <p14:creationId xmlns:p14="http://schemas.microsoft.com/office/powerpoint/2010/main" val="37966945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1DoubleBoat"/>
</p:tagLst>
</file>

<file path=ppt/tags/tag11.xml><?xml version="1.0" encoding="utf-8"?>
<p:tagLst xmlns:a="http://schemas.openxmlformats.org/drawingml/2006/main" xmlns:r="http://schemas.openxmlformats.org/officeDocument/2006/relationships" xmlns:p="http://schemas.openxmlformats.org/presentationml/2006/main">
  <p:tag name="NAME" val="SingleChevron"/>
</p:tagLst>
</file>

<file path=ppt/tags/tag12.xml><?xml version="1.0" encoding="utf-8"?>
<p:tagLst xmlns:a="http://schemas.openxmlformats.org/drawingml/2006/main" xmlns:r="http://schemas.openxmlformats.org/officeDocument/2006/relationships" xmlns:p="http://schemas.openxmlformats.org/presentationml/2006/main">
  <p:tag name="NAME" val="DoubleChevron2"/>
</p:tagLst>
</file>

<file path=ppt/tags/tag13.xml><?xml version="1.0" encoding="utf-8"?>
<p:tagLst xmlns:a="http://schemas.openxmlformats.org/drawingml/2006/main" xmlns:r="http://schemas.openxmlformats.org/officeDocument/2006/relationships" xmlns:p="http://schemas.openxmlformats.org/presentationml/2006/main">
  <p:tag name="NAME" val="DoubleChevron"/>
</p:tagLst>
</file>

<file path=ppt/tags/tag14.xml><?xml version="1.0" encoding="utf-8"?>
<p:tagLst xmlns:a="http://schemas.openxmlformats.org/drawingml/2006/main" xmlns:r="http://schemas.openxmlformats.org/officeDocument/2006/relationships" xmlns:p="http://schemas.openxmlformats.org/presentationml/2006/main">
  <p:tag name="NAME" val="Bracket"/>
</p:tagLst>
</file>

<file path=ppt/tags/tag15.xml><?xml version="1.0" encoding="utf-8"?>
<p:tagLst xmlns:a="http://schemas.openxmlformats.org/drawingml/2006/main" xmlns:r="http://schemas.openxmlformats.org/officeDocument/2006/relationships" xmlns:p="http://schemas.openxmlformats.org/presentationml/2006/main">
  <p:tag name="NAME" val="DoubleChevron"/>
</p:tagLst>
</file>

<file path=ppt/tags/tag16.xml><?xml version="1.0" encoding="utf-8"?>
<p:tagLst xmlns:a="http://schemas.openxmlformats.org/drawingml/2006/main" xmlns:r="http://schemas.openxmlformats.org/officeDocument/2006/relationships" xmlns:p="http://schemas.openxmlformats.org/presentationml/2006/main">
  <p:tag name="NAME" val="DoubleChevron2"/>
</p:tagLst>
</file>

<file path=ppt/tags/tag17.xml><?xml version="1.0" encoding="utf-8"?>
<p:tagLst xmlns:a="http://schemas.openxmlformats.org/drawingml/2006/main" xmlns:r="http://schemas.openxmlformats.org/officeDocument/2006/relationships" xmlns:p="http://schemas.openxmlformats.org/presentationml/2006/main">
  <p:tag name="NAME" val="1BoatTopShape"/>
</p:tagLst>
</file>

<file path=ppt/tags/tag18.xml><?xml version="1.0" encoding="utf-8"?>
<p:tagLst xmlns:a="http://schemas.openxmlformats.org/drawingml/2006/main" xmlns:r="http://schemas.openxmlformats.org/officeDocument/2006/relationships" xmlns:p="http://schemas.openxmlformats.org/presentationml/2006/main">
  <p:tag name="NAME" val="1BoatTopText"/>
</p:tagLst>
</file>

<file path=ppt/tags/tag19.xml><?xml version="1.0" encoding="utf-8"?>
<p:tagLst xmlns:a="http://schemas.openxmlformats.org/drawingml/2006/main" xmlns:r="http://schemas.openxmlformats.org/officeDocument/2006/relationships" xmlns:p="http://schemas.openxmlformats.org/presentationml/2006/main">
  <p:tag name="NAME" val="1BoatBottomShap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PJQvib.s.tMqHkrEQTKww"/>
</p:tagLst>
</file>

<file path=ppt/tags/tag20.xml><?xml version="1.0" encoding="utf-8"?>
<p:tagLst xmlns:a="http://schemas.openxmlformats.org/drawingml/2006/main" xmlns:r="http://schemas.openxmlformats.org/officeDocument/2006/relationships" xmlns:p="http://schemas.openxmlformats.org/presentationml/2006/main">
  <p:tag name="NAME" val="1BoatBottomText"/>
</p:tagLst>
</file>

<file path=ppt/tags/tag21.xml><?xml version="1.0" encoding="utf-8"?>
<p:tagLst xmlns:a="http://schemas.openxmlformats.org/drawingml/2006/main" xmlns:r="http://schemas.openxmlformats.org/officeDocument/2006/relationships" xmlns:p="http://schemas.openxmlformats.org/presentationml/2006/main">
  <p:tag name="NAME" val="SingleBoatShape"/>
</p:tagLst>
</file>

<file path=ppt/tags/tag22.xml><?xml version="1.0" encoding="utf-8"?>
<p:tagLst xmlns:a="http://schemas.openxmlformats.org/drawingml/2006/main" xmlns:r="http://schemas.openxmlformats.org/officeDocument/2006/relationships" xmlns:p="http://schemas.openxmlformats.org/presentationml/2006/main">
  <p:tag name="NAME" val="SingleBoatText"/>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pLHhevviGfg8Pk3JzyDVA"/>
</p:tagLst>
</file>

<file path=ppt/tags/tag4.xml><?xml version="1.0" encoding="utf-8"?>
<p:tagLst xmlns:a="http://schemas.openxmlformats.org/drawingml/2006/main" xmlns:r="http://schemas.openxmlformats.org/officeDocument/2006/relationships" xmlns:p="http://schemas.openxmlformats.org/presentationml/2006/main">
  <p:tag name="NAME" val="Oval"/>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p2Nu8P7S3vj3DYGifZkj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p2Nu8P7S3vj3DYGifZkj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2sx.wT_uaxlO7okQ.EIWR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2gl4ct4YVIAG4yQoOq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bmCiKmmHwEiCFUDbxDgIM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B1n2QMoiGE2oLBR_GiQmpw"/>
</p:tagLst>
</file>

<file path=ppt/tags/tag5.xml><?xml version="1.0" encoding="utf-8"?>
<p:tagLst xmlns:a="http://schemas.openxmlformats.org/drawingml/2006/main" xmlns:r="http://schemas.openxmlformats.org/officeDocument/2006/relationships" xmlns:p="http://schemas.openxmlformats.org/presentationml/2006/main">
  <p:tag name="NAME" val="Rectangl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hjdPPFIxEu9IpLanh6JX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15yu2jABESijovMTUzVD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KJBNU4t5kGc5U5t_5xjU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3lmGbzDWj0yVcI714AJ4d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vUGcpbHAWkG1riSE4TZvE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7dlaHez4n0mo96ts848d_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yXxosxZhmEaGrByZuj8Jl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0yrXbaegIUi2uMbz_eZXKA"/>
</p:tagLst>
</file>

<file path=ppt/tags/tag58.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59.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6.xml><?xml version="1.0" encoding="utf-8"?>
<p:tagLst xmlns:a="http://schemas.openxmlformats.org/drawingml/2006/main" xmlns:r="http://schemas.openxmlformats.org/officeDocument/2006/relationships" xmlns:p="http://schemas.openxmlformats.org/presentationml/2006/main">
  <p:tag name="NAME" val="RoundedRectangle"/>
</p:tagLst>
</file>

<file path=ppt/tags/tag60.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61.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62.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63.xml><?xml version="1.0" encoding="utf-8"?>
<p:tagLst xmlns:a="http://schemas.openxmlformats.org/drawingml/2006/main" xmlns:r="http://schemas.openxmlformats.org/officeDocument/2006/relationships" xmlns:p="http://schemas.openxmlformats.org/presentationml/2006/main">
  <p:tag name="NAME" val="TrackerNum"/>
</p:tagLst>
</file>

<file path=ppt/tags/tag7.xml><?xml version="1.0" encoding="utf-8"?>
<p:tagLst xmlns:a="http://schemas.openxmlformats.org/drawingml/2006/main" xmlns:r="http://schemas.openxmlformats.org/officeDocument/2006/relationships" xmlns:p="http://schemas.openxmlformats.org/presentationml/2006/main">
  <p:tag name="NAME" val="Arrow"/>
</p:tagLst>
</file>

<file path=ppt/tags/tag8.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9.xml><?xml version="1.0" encoding="utf-8"?>
<p:tagLst xmlns:a="http://schemas.openxmlformats.org/drawingml/2006/main" xmlns:r="http://schemas.openxmlformats.org/officeDocument/2006/relationships" xmlns:p="http://schemas.openxmlformats.org/presentationml/2006/main">
  <p:tag name="NAME" val="SingleBoat"/>
</p:tagLst>
</file>

<file path=ppt/theme/theme1.xml><?xml version="1.0" encoding="utf-8"?>
<a:theme xmlns:a="http://schemas.openxmlformats.org/drawingml/2006/main" name="FR_CM0173_16x9_CF1">
  <a:themeElements>
    <a:clrScheme name="Custom">
      <a:dk1>
        <a:srgbClr val="333333"/>
      </a:dk1>
      <a:lt1>
        <a:srgbClr val="FFFFFF"/>
      </a:lt1>
      <a:dk2>
        <a:srgbClr val="149AC2"/>
      </a:dk2>
      <a:lt2>
        <a:srgbClr val="FFFFFF"/>
      </a:lt2>
      <a:accent1>
        <a:srgbClr val="E0E0E0"/>
      </a:accent1>
      <a:accent2>
        <a:srgbClr val="A6C9D5"/>
      </a:accent2>
      <a:accent3>
        <a:srgbClr val="4CB2D2"/>
      </a:accent3>
      <a:accent4>
        <a:srgbClr val="149AC2"/>
      </a:accent4>
      <a:accent5>
        <a:srgbClr val="63689A"/>
      </a:accent5>
      <a:accent6>
        <a:srgbClr val="4F388F"/>
      </a:accent6>
      <a:hlink>
        <a:srgbClr val="4CB2D2"/>
      </a:hlink>
      <a:folHlink>
        <a:srgbClr val="149AC2"/>
      </a:folHlink>
    </a:clrScheme>
    <a:fontScheme name="Custom 2">
      <a:majorFont>
        <a:latin typeface="Arial Narrow"/>
        <a:ea typeface="ＭＳ Ｐゴシック"/>
        <a:cs typeface=""/>
      </a:majorFont>
      <a:minorFont>
        <a:latin typeface="Arial Nova Light"/>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dirty="0" smtClean="0"/>
        </a:defPPr>
      </a:lstStyle>
    </a:txDef>
  </a:objectDefaults>
  <a:extraClrSchemeLst>
    <a:extraClrScheme>
      <a:clrScheme name="Custom">
        <a:dk1>
          <a:srgbClr val="333333"/>
        </a:dk1>
        <a:lt1>
          <a:srgbClr val="FFFFFF"/>
        </a:lt1>
        <a:dk2>
          <a:srgbClr val="149AC2"/>
        </a:dk2>
        <a:lt2>
          <a:srgbClr val="FFFFFF"/>
        </a:lt2>
        <a:accent1>
          <a:srgbClr val="E0E0E0"/>
        </a:accent1>
        <a:accent2>
          <a:srgbClr val="A6C9D5"/>
        </a:accent2>
        <a:accent3>
          <a:srgbClr val="4CB2D2"/>
        </a:accent3>
        <a:accent4>
          <a:srgbClr val="149AC2"/>
        </a:accent4>
        <a:accent5>
          <a:srgbClr val="63689A"/>
        </a:accent5>
        <a:accent6>
          <a:srgbClr val="4F388F"/>
        </a:accent6>
        <a:hlink>
          <a:srgbClr val="4CB2D2"/>
        </a:hlink>
        <a:folHlink>
          <a:srgbClr val="149AC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R_Template ADD.potx" id="{65F67A66-B575-4EF5-A88B-4E36C5DAC915}" vid="{38DB50F4-A577-45B0-B26E-EE8D2BF631B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B1EDB102FDC7E4A8AEAE2C88617DD1D" ma:contentTypeVersion="2" ma:contentTypeDescription="Crée un document." ma:contentTypeScope="" ma:versionID="68b04ef98936038bc95f0fdff00e0360">
  <xsd:schema xmlns:xsd="http://www.w3.org/2001/XMLSchema" xmlns:xs="http://www.w3.org/2001/XMLSchema" xmlns:p="http://schemas.microsoft.com/office/2006/metadata/properties" xmlns:ns1="http://schemas.microsoft.com/sharepoint/v3" targetNamespace="http://schemas.microsoft.com/office/2006/metadata/properties" ma:root="true" ma:fieldsID="d3f961bdeb8ddcb88c2c447eff11a4e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Date de début de planification" ma:internalName="PublishingStartDate">
      <xsd:simpleType>
        <xsd:restriction base="dms:Unknown"/>
      </xsd:simpleType>
    </xsd:element>
    <xsd:element name="PublishingExpirationDate" ma:index="9" nillable="true" ma:displayName="Date de fin de planification"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9CC484E7-8F38-412B-9E2A-E27901E82952}"/>
</file>

<file path=customXml/itemProps2.xml><?xml version="1.0" encoding="utf-8"?>
<ds:datastoreItem xmlns:ds="http://schemas.openxmlformats.org/officeDocument/2006/customXml" ds:itemID="{6BAE28CF-737A-43D6-B4ED-FBFB7DE073EF}"/>
</file>

<file path=customXml/itemProps3.xml><?xml version="1.0" encoding="utf-8"?>
<ds:datastoreItem xmlns:ds="http://schemas.openxmlformats.org/officeDocument/2006/customXml" ds:itemID="{62A75C0B-0791-46A8-B13C-5614201CEFE0}"/>
</file>

<file path=docProps/app.xml><?xml version="1.0" encoding="utf-8"?>
<Properties xmlns="http://schemas.openxmlformats.org/officeDocument/2006/extended-properties" xmlns:vt="http://schemas.openxmlformats.org/officeDocument/2006/docPropsVTypes">
  <TotalTime>1592</TotalTime>
  <Words>1459</Words>
  <Application>Microsoft Office PowerPoint</Application>
  <PresentationFormat>Grand écran</PresentationFormat>
  <Paragraphs>174</Paragraphs>
  <Slides>11</Slides>
  <Notes>0</Notes>
  <HiddenSlides>0</HiddenSlides>
  <MMClips>0</MMClips>
  <ScaleCrop>false</ScaleCrop>
  <HeadingPairs>
    <vt:vector size="8" baseType="variant">
      <vt:variant>
        <vt:lpstr>Polices utilisées</vt:lpstr>
      </vt:variant>
      <vt:variant>
        <vt:i4>11</vt:i4>
      </vt:variant>
      <vt:variant>
        <vt:lpstr>Thème</vt:lpstr>
      </vt:variant>
      <vt:variant>
        <vt:i4>1</vt:i4>
      </vt:variant>
      <vt:variant>
        <vt:lpstr>Serveurs OLE incorporés</vt:lpstr>
      </vt:variant>
      <vt:variant>
        <vt:i4>1</vt:i4>
      </vt:variant>
      <vt:variant>
        <vt:lpstr>Titres des diapositives</vt:lpstr>
      </vt:variant>
      <vt:variant>
        <vt:i4>11</vt:i4>
      </vt:variant>
    </vt:vector>
  </HeadingPairs>
  <TitlesOfParts>
    <vt:vector size="24" baseType="lpstr">
      <vt:lpstr>Arial</vt:lpstr>
      <vt:lpstr>Arial Narrow</vt:lpstr>
      <vt:lpstr>Arial Nova Light</vt:lpstr>
      <vt:lpstr>Calibri</vt:lpstr>
      <vt:lpstr>Century Gothic</vt:lpstr>
      <vt:lpstr>Clan Pro Book</vt:lpstr>
      <vt:lpstr>Helvetica</vt:lpstr>
      <vt:lpstr>Helvetica Rounded</vt:lpstr>
      <vt:lpstr>Police système</vt:lpstr>
      <vt:lpstr>Symbol</vt:lpstr>
      <vt:lpstr>Wingdings</vt:lpstr>
      <vt:lpstr>FR_CM0173_16x9_CF1</vt:lpstr>
      <vt:lpstr>think-cell Slide</vt:lpstr>
      <vt:lpstr>Agence de développement du digital</vt:lpstr>
      <vt:lpstr>1. Missions et Rôles de l’ADD</vt:lpstr>
      <vt:lpstr>2. Feuille de route de l’ADD</vt:lpstr>
      <vt:lpstr>2. Missions et Rôles de l’ADD</vt:lpstr>
      <vt:lpstr>Bureau d’ordre digital</vt:lpstr>
      <vt:lpstr>Parapheur électronique</vt:lpstr>
      <vt:lpstr>Prise de rendez-vous </vt:lpstr>
      <vt:lpstr>Présentation PowerPoint</vt:lpstr>
      <vt:lpstr>La refonte de la plateforme WATIQA </vt:lpstr>
      <vt:lpstr>Portail National de l’Administration</vt:lpstr>
      <vt:lpstr>Merci pour votre aimable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 parallèle, l’Agence a également œuvré sur d’autres réalisations (2/2)</dc:title>
  <dc:creator>add</dc:creator>
  <cp:lastModifiedBy>Nikolay, Silke GIZ MA</cp:lastModifiedBy>
  <cp:revision>22</cp:revision>
  <dcterms:created xsi:type="dcterms:W3CDTF">2020-04-27T15:38:23Z</dcterms:created>
  <dcterms:modified xsi:type="dcterms:W3CDTF">2020-11-10T10:2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B1EDB102FDC7E4A8AEAE2C88617DD1D</vt:lpwstr>
  </property>
</Properties>
</file>